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omments/modernComment_160_35B5D356.xml" ContentType="application/vnd.ms-powerpoint.comments+xml"/>
  <Override PartName="/ppt/notesSlides/notesSlide2.xml" ContentType="application/vnd.openxmlformats-officedocument.presentationml.notesSlide+xml"/>
  <Override PartName="/ppt/comments/modernComment_158_DC320BF8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179_3E0E6F47.xml" ContentType="application/vnd.ms-powerpoint.comments+xml"/>
  <Override PartName="/ppt/notesSlides/notesSlide5.xml" ContentType="application/vnd.openxmlformats-officedocument.presentationml.notesSlide+xml"/>
  <Override PartName="/ppt/comments/modernComment_17B_A4C08893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  <p:sldMasterId id="2147483782" r:id="rId5"/>
    <p:sldMasterId id="2147483800" r:id="rId6"/>
    <p:sldMasterId id="2147483713" r:id="rId7"/>
    <p:sldMasterId id="2147483817" r:id="rId8"/>
    <p:sldMasterId id="2147483820" r:id="rId9"/>
  </p:sldMasterIdLst>
  <p:notesMasterIdLst>
    <p:notesMasterId r:id="rId41"/>
  </p:notesMasterIdLst>
  <p:sldIdLst>
    <p:sldId id="292" r:id="rId10"/>
    <p:sldId id="328" r:id="rId11"/>
    <p:sldId id="327" r:id="rId12"/>
    <p:sldId id="346" r:id="rId13"/>
    <p:sldId id="349" r:id="rId14"/>
    <p:sldId id="378" r:id="rId15"/>
    <p:sldId id="352" r:id="rId16"/>
    <p:sldId id="347" r:id="rId17"/>
    <p:sldId id="344" r:id="rId18"/>
    <p:sldId id="372" r:id="rId19"/>
    <p:sldId id="355" r:id="rId20"/>
    <p:sldId id="356" r:id="rId21"/>
    <p:sldId id="357" r:id="rId22"/>
    <p:sldId id="358" r:id="rId23"/>
    <p:sldId id="359" r:id="rId24"/>
    <p:sldId id="360" r:id="rId25"/>
    <p:sldId id="373" r:id="rId26"/>
    <p:sldId id="377" r:id="rId27"/>
    <p:sldId id="376" r:id="rId28"/>
    <p:sldId id="337" r:id="rId29"/>
    <p:sldId id="379" r:id="rId30"/>
    <p:sldId id="340" r:id="rId31"/>
    <p:sldId id="338" r:id="rId32"/>
    <p:sldId id="339" r:id="rId33"/>
    <p:sldId id="331" r:id="rId34"/>
    <p:sldId id="363" r:id="rId35"/>
    <p:sldId id="361" r:id="rId36"/>
    <p:sldId id="362" r:id="rId37"/>
    <p:sldId id="380" r:id="rId38"/>
    <p:sldId id="382" r:id="rId39"/>
    <p:sldId id="383" r:id="rId40"/>
  </p:sldIdLst>
  <p:sldSz cx="9144000" cy="5143500" type="screen16x9"/>
  <p:notesSz cx="6400800" cy="8686800"/>
  <p:custDataLst>
    <p:tags r:id="rId42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9783C08-537C-4FA7-B364-B34328B845B1}">
          <p14:sldIdLst>
            <p14:sldId id="292"/>
            <p14:sldId id="328"/>
            <p14:sldId id="327"/>
            <p14:sldId id="346"/>
            <p14:sldId id="349"/>
            <p14:sldId id="378"/>
            <p14:sldId id="352"/>
            <p14:sldId id="347"/>
            <p14:sldId id="344"/>
            <p14:sldId id="372"/>
            <p14:sldId id="355"/>
            <p14:sldId id="356"/>
            <p14:sldId id="357"/>
            <p14:sldId id="358"/>
            <p14:sldId id="359"/>
            <p14:sldId id="360"/>
            <p14:sldId id="373"/>
            <p14:sldId id="377"/>
            <p14:sldId id="376"/>
            <p14:sldId id="337"/>
            <p14:sldId id="379"/>
            <p14:sldId id="340"/>
            <p14:sldId id="338"/>
            <p14:sldId id="339"/>
            <p14:sldId id="331"/>
            <p14:sldId id="363"/>
            <p14:sldId id="361"/>
            <p14:sldId id="362"/>
            <p14:sldId id="380"/>
            <p14:sldId id="382"/>
            <p14:sldId id="3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1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66C33F-B58A-3CEA-4A41-B9E66FCF698E}" name="Philipp Forster" initials="PF" userId="S::p.forster@emergize.org::b742aaf2-8a0f-4ee3-b486-82a1d0a06832" providerId="AD"/>
  <p188:author id="{535F758D-CE61-71D8-ADA9-B4F5BB4B295A}" name="Martina Kessler" initials="MK" userId="S::Martina.Kessler@zg.ch::dc38a47a-e6db-4d2d-a6d1-43e68cd7c0a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FB5"/>
    <a:srgbClr val="C3BAA5"/>
    <a:srgbClr val="B4A9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0AA731-4CB3-4EA2-94A3-5244547374B3}" v="9" dt="2023-12-15T15:22:43.3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56" autoAdjust="0"/>
    <p:restoredTop sz="96197" autoAdjust="0"/>
  </p:normalViewPr>
  <p:slideViewPr>
    <p:cSldViewPr snapToGrid="0">
      <p:cViewPr varScale="1">
        <p:scale>
          <a:sx n="149" d="100"/>
          <a:sy n="149" d="100"/>
        </p:scale>
        <p:origin x="138" y="270"/>
      </p:cViewPr>
      <p:guideLst>
        <p:guide orient="horz" pos="1801"/>
        <p:guide pos="2880"/>
      </p:guideLst>
    </p:cSldViewPr>
  </p:slideViewPr>
  <p:outlineViewPr>
    <p:cViewPr>
      <p:scale>
        <a:sx n="33" d="100"/>
        <a:sy n="33" d="100"/>
      </p:scale>
      <p:origin x="0" y="-56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 Forster" userId="b742aaf2-8a0f-4ee3-b486-82a1d0a06832" providerId="ADAL" clId="{49FDA4E2-BEE0-4614-B6DC-4CFB0F75C955}"/>
    <pc:docChg chg="undo custSel addSld delSld modSld sldOrd modMainMaster replTag">
      <pc:chgData name="Philipp Forster" userId="b742aaf2-8a0f-4ee3-b486-82a1d0a06832" providerId="ADAL" clId="{49FDA4E2-BEE0-4614-B6DC-4CFB0F75C955}" dt="2023-03-12T10:49:53.520" v="7869" actId="6549"/>
      <pc:docMkLst>
        <pc:docMk/>
      </pc:docMkLst>
      <pc:sldChg chg="modSp mod">
        <pc:chgData name="Philipp Forster" userId="b742aaf2-8a0f-4ee3-b486-82a1d0a06832" providerId="ADAL" clId="{49FDA4E2-BEE0-4614-B6DC-4CFB0F75C955}" dt="2023-03-11T16:18:43.163" v="85" actId="20577"/>
        <pc:sldMkLst>
          <pc:docMk/>
          <pc:sldMk cId="2159693196" sldId="292"/>
        </pc:sldMkLst>
        <pc:spChg chg="mod">
          <ac:chgData name="Philipp Forster" userId="b742aaf2-8a0f-4ee3-b486-82a1d0a06832" providerId="ADAL" clId="{49FDA4E2-BEE0-4614-B6DC-4CFB0F75C955}" dt="2023-03-11T16:18:43.163" v="85" actId="20577"/>
          <ac:spMkLst>
            <pc:docMk/>
            <pc:sldMk cId="2159693196" sldId="292"/>
            <ac:spMk id="3" creationId="{41F32CBF-83F0-A346-A6C2-A2E5182E6162}"/>
          </ac:spMkLst>
        </pc:spChg>
      </pc:sldChg>
      <pc:sldChg chg="del">
        <pc:chgData name="Philipp Forster" userId="b742aaf2-8a0f-4ee3-b486-82a1d0a06832" providerId="ADAL" clId="{49FDA4E2-BEE0-4614-B6DC-4CFB0F75C955}" dt="2023-03-12T10:48:31.945" v="7833" actId="47"/>
        <pc:sldMkLst>
          <pc:docMk/>
          <pc:sldMk cId="1644863402" sldId="313"/>
        </pc:sldMkLst>
      </pc:sldChg>
      <pc:sldChg chg="addSp delSp modSp mod">
        <pc:chgData name="Philipp Forster" userId="b742aaf2-8a0f-4ee3-b486-82a1d0a06832" providerId="ADAL" clId="{49FDA4E2-BEE0-4614-B6DC-4CFB0F75C955}" dt="2023-03-12T04:13:10.645" v="557" actId="1076"/>
        <pc:sldMkLst>
          <pc:docMk/>
          <pc:sldMk cId="1172277014" sldId="327"/>
        </pc:sldMkLst>
        <pc:spChg chg="mod">
          <ac:chgData name="Philipp Forster" userId="b742aaf2-8a0f-4ee3-b486-82a1d0a06832" providerId="ADAL" clId="{49FDA4E2-BEE0-4614-B6DC-4CFB0F75C955}" dt="2023-03-12T04:11:44.963" v="547" actId="20577"/>
          <ac:spMkLst>
            <pc:docMk/>
            <pc:sldMk cId="1172277014" sldId="327"/>
            <ac:spMk id="2" creationId="{6E1811A0-B06E-A546-A365-5D01F64B0AF6}"/>
          </ac:spMkLst>
        </pc:spChg>
        <pc:picChg chg="add del mod">
          <ac:chgData name="Philipp Forster" userId="b742aaf2-8a0f-4ee3-b486-82a1d0a06832" providerId="ADAL" clId="{49FDA4E2-BEE0-4614-B6DC-4CFB0F75C955}" dt="2023-03-12T04:12:46.188" v="550"/>
          <ac:picMkLst>
            <pc:docMk/>
            <pc:sldMk cId="1172277014" sldId="327"/>
            <ac:picMk id="3" creationId="{3329371E-1600-842A-559B-A282BA486DC0}"/>
          </ac:picMkLst>
        </pc:picChg>
        <pc:picChg chg="add del">
          <ac:chgData name="Philipp Forster" userId="b742aaf2-8a0f-4ee3-b486-82a1d0a06832" providerId="ADAL" clId="{49FDA4E2-BEE0-4614-B6DC-4CFB0F75C955}" dt="2023-03-12T04:12:48.416" v="552" actId="478"/>
          <ac:picMkLst>
            <pc:docMk/>
            <pc:sldMk cId="1172277014" sldId="327"/>
            <ac:picMk id="5" creationId="{E5A0AB17-3040-9742-BFC8-E1D9EE0BA069}"/>
          </ac:picMkLst>
        </pc:picChg>
        <pc:picChg chg="add del mod">
          <ac:chgData name="Philipp Forster" userId="b742aaf2-8a0f-4ee3-b486-82a1d0a06832" providerId="ADAL" clId="{49FDA4E2-BEE0-4614-B6DC-4CFB0F75C955}" dt="2023-03-12T04:12:52.299" v="555" actId="478"/>
          <ac:picMkLst>
            <pc:docMk/>
            <pc:sldMk cId="1172277014" sldId="327"/>
            <ac:picMk id="7" creationId="{4359CD1F-AE15-75CC-A10A-3997AB7EADC1}"/>
          </ac:picMkLst>
        </pc:picChg>
        <pc:picChg chg="add mod">
          <ac:chgData name="Philipp Forster" userId="b742aaf2-8a0f-4ee3-b486-82a1d0a06832" providerId="ADAL" clId="{49FDA4E2-BEE0-4614-B6DC-4CFB0F75C955}" dt="2023-03-12T04:13:10.645" v="557" actId="1076"/>
          <ac:picMkLst>
            <pc:docMk/>
            <pc:sldMk cId="1172277014" sldId="327"/>
            <ac:picMk id="8" creationId="{283CC606-82E1-D41D-C843-905AE6510B5D}"/>
          </ac:picMkLst>
        </pc:picChg>
      </pc:sldChg>
      <pc:sldChg chg="modSp mod">
        <pc:chgData name="Philipp Forster" userId="b742aaf2-8a0f-4ee3-b486-82a1d0a06832" providerId="ADAL" clId="{49FDA4E2-BEE0-4614-B6DC-4CFB0F75C955}" dt="2023-03-11T16:20:20.157" v="229" actId="20577"/>
        <pc:sldMkLst>
          <pc:docMk/>
          <pc:sldMk cId="3825057976" sldId="328"/>
        </pc:sldMkLst>
        <pc:graphicFrameChg chg="modGraphic">
          <ac:chgData name="Philipp Forster" userId="b742aaf2-8a0f-4ee3-b486-82a1d0a06832" providerId="ADAL" clId="{49FDA4E2-BEE0-4614-B6DC-4CFB0F75C955}" dt="2023-03-11T16:20:20.157" v="229" actId="20577"/>
          <ac:graphicFrameMkLst>
            <pc:docMk/>
            <pc:sldMk cId="3825057976" sldId="328"/>
            <ac:graphicFrameMk id="42" creationId="{734ED974-85B0-804C-A4EA-FEDFBD33257F}"/>
          </ac:graphicFrameMkLst>
        </pc:graphicFrameChg>
      </pc:sldChg>
      <pc:sldChg chg="del">
        <pc:chgData name="Philipp Forster" userId="b742aaf2-8a0f-4ee3-b486-82a1d0a06832" providerId="ADAL" clId="{49FDA4E2-BEE0-4614-B6DC-4CFB0F75C955}" dt="2023-03-12T05:26:53.940" v="6451" actId="47"/>
        <pc:sldMkLst>
          <pc:docMk/>
          <pc:sldMk cId="4191018907" sldId="329"/>
        </pc:sldMkLst>
      </pc:sldChg>
      <pc:sldChg chg="modSp mod">
        <pc:chgData name="Philipp Forster" userId="b742aaf2-8a0f-4ee3-b486-82a1d0a06832" providerId="ADAL" clId="{49FDA4E2-BEE0-4614-B6DC-4CFB0F75C955}" dt="2023-03-12T05:28:31.723" v="6748" actId="20577"/>
        <pc:sldMkLst>
          <pc:docMk/>
          <pc:sldMk cId="3946944765" sldId="340"/>
        </pc:sldMkLst>
        <pc:graphicFrameChg chg="modGraphic">
          <ac:chgData name="Philipp Forster" userId="b742aaf2-8a0f-4ee3-b486-82a1d0a06832" providerId="ADAL" clId="{49FDA4E2-BEE0-4614-B6DC-4CFB0F75C955}" dt="2023-03-12T05:28:31.723" v="6748" actId="20577"/>
          <ac:graphicFrameMkLst>
            <pc:docMk/>
            <pc:sldMk cId="3946944765" sldId="340"/>
            <ac:graphicFrameMk id="16" creationId="{7A45F6A1-D0AA-5544-904D-288AB7561669}"/>
          </ac:graphicFrameMkLst>
        </pc:graphicFrameChg>
      </pc:sldChg>
      <pc:sldChg chg="del">
        <pc:chgData name="Philipp Forster" userId="b742aaf2-8a0f-4ee3-b486-82a1d0a06832" providerId="ADAL" clId="{49FDA4E2-BEE0-4614-B6DC-4CFB0F75C955}" dt="2023-03-12T05:26:53.940" v="6451" actId="47"/>
        <pc:sldMkLst>
          <pc:docMk/>
          <pc:sldMk cId="3553572334" sldId="343"/>
        </pc:sldMkLst>
      </pc:sldChg>
      <pc:sldChg chg="addSp delSp modSp mod ord">
        <pc:chgData name="Philipp Forster" userId="b742aaf2-8a0f-4ee3-b486-82a1d0a06832" providerId="ADAL" clId="{49FDA4E2-BEE0-4614-B6DC-4CFB0F75C955}" dt="2023-03-12T04:57:39.170" v="4089" actId="27636"/>
        <pc:sldMkLst>
          <pc:docMk/>
          <pc:sldMk cId="3694267384" sldId="344"/>
        </pc:sldMkLst>
        <pc:spChg chg="mod">
          <ac:chgData name="Philipp Forster" userId="b742aaf2-8a0f-4ee3-b486-82a1d0a06832" providerId="ADAL" clId="{49FDA4E2-BEE0-4614-B6DC-4CFB0F75C955}" dt="2023-03-12T04:52:28.211" v="3657" actId="20577"/>
          <ac:spMkLst>
            <pc:docMk/>
            <pc:sldMk cId="3694267384" sldId="344"/>
            <ac:spMk id="2" creationId="{D4C43DD4-84AD-9684-92C8-53B1374287AC}"/>
          </ac:spMkLst>
        </pc:spChg>
        <pc:spChg chg="mod">
          <ac:chgData name="Philipp Forster" userId="b742aaf2-8a0f-4ee3-b486-82a1d0a06832" providerId="ADAL" clId="{49FDA4E2-BEE0-4614-B6DC-4CFB0F75C955}" dt="2023-03-12T04:57:39.170" v="4089" actId="27636"/>
          <ac:spMkLst>
            <pc:docMk/>
            <pc:sldMk cId="3694267384" sldId="344"/>
            <ac:spMk id="3" creationId="{F2475919-EB90-A1DE-65A6-D13F384E083D}"/>
          </ac:spMkLst>
        </pc:spChg>
        <pc:spChg chg="add mod">
          <ac:chgData name="Philipp Forster" userId="b742aaf2-8a0f-4ee3-b486-82a1d0a06832" providerId="ADAL" clId="{49FDA4E2-BEE0-4614-B6DC-4CFB0F75C955}" dt="2023-03-12T04:57:19.606" v="4052" actId="1038"/>
          <ac:spMkLst>
            <pc:docMk/>
            <pc:sldMk cId="3694267384" sldId="344"/>
            <ac:spMk id="6" creationId="{2CD949F2-3600-9549-6B89-C98B9818B716}"/>
          </ac:spMkLst>
        </pc:spChg>
        <pc:spChg chg="add del mod">
          <ac:chgData name="Philipp Forster" userId="b742aaf2-8a0f-4ee3-b486-82a1d0a06832" providerId="ADAL" clId="{49FDA4E2-BEE0-4614-B6DC-4CFB0F75C955}" dt="2023-03-12T04:54:58.617" v="3892" actId="478"/>
          <ac:spMkLst>
            <pc:docMk/>
            <pc:sldMk cId="3694267384" sldId="344"/>
            <ac:spMk id="7" creationId="{0793F329-895B-6BA9-4C01-A13447A9CC05}"/>
          </ac:spMkLst>
        </pc:spChg>
        <pc:spChg chg="add mod">
          <ac:chgData name="Philipp Forster" userId="b742aaf2-8a0f-4ee3-b486-82a1d0a06832" providerId="ADAL" clId="{49FDA4E2-BEE0-4614-B6DC-4CFB0F75C955}" dt="2023-03-12T04:57:19.606" v="4052" actId="1038"/>
          <ac:spMkLst>
            <pc:docMk/>
            <pc:sldMk cId="3694267384" sldId="344"/>
            <ac:spMk id="8" creationId="{469337E4-240A-3132-BF4A-0A1ED27F2FA1}"/>
          </ac:spMkLst>
        </pc:spChg>
        <pc:spChg chg="add mod">
          <ac:chgData name="Philipp Forster" userId="b742aaf2-8a0f-4ee3-b486-82a1d0a06832" providerId="ADAL" clId="{49FDA4E2-BEE0-4614-B6DC-4CFB0F75C955}" dt="2023-03-12T04:57:19.606" v="4052" actId="1038"/>
          <ac:spMkLst>
            <pc:docMk/>
            <pc:sldMk cId="3694267384" sldId="344"/>
            <ac:spMk id="10" creationId="{046C8056-A8E7-F10D-1B90-2E5E3D011B20}"/>
          </ac:spMkLst>
        </pc:spChg>
        <pc:spChg chg="add mod">
          <ac:chgData name="Philipp Forster" userId="b742aaf2-8a0f-4ee3-b486-82a1d0a06832" providerId="ADAL" clId="{49FDA4E2-BEE0-4614-B6DC-4CFB0F75C955}" dt="2023-03-12T04:57:19.606" v="4052" actId="1038"/>
          <ac:spMkLst>
            <pc:docMk/>
            <pc:sldMk cId="3694267384" sldId="344"/>
            <ac:spMk id="11" creationId="{FB11D28B-A4F9-C8B2-782D-D9E9D638B586}"/>
          </ac:spMkLst>
        </pc:spChg>
        <pc:picChg chg="add mod">
          <ac:chgData name="Philipp Forster" userId="b742aaf2-8a0f-4ee3-b486-82a1d0a06832" providerId="ADAL" clId="{49FDA4E2-BEE0-4614-B6DC-4CFB0F75C955}" dt="2023-03-12T04:57:19.606" v="4052" actId="1038"/>
          <ac:picMkLst>
            <pc:docMk/>
            <pc:sldMk cId="3694267384" sldId="344"/>
            <ac:picMk id="5" creationId="{6302786B-E222-9BF3-2452-96D7830BA691}"/>
          </ac:picMkLst>
        </pc:picChg>
        <pc:picChg chg="add mod">
          <ac:chgData name="Philipp Forster" userId="b742aaf2-8a0f-4ee3-b486-82a1d0a06832" providerId="ADAL" clId="{49FDA4E2-BEE0-4614-B6DC-4CFB0F75C955}" dt="2023-03-12T04:57:19.606" v="4052" actId="1038"/>
          <ac:picMkLst>
            <pc:docMk/>
            <pc:sldMk cId="3694267384" sldId="344"/>
            <ac:picMk id="9" creationId="{ADC52776-B3CA-9011-A053-7D4DD4B96C7C}"/>
          </ac:picMkLst>
        </pc:picChg>
        <pc:picChg chg="add mod">
          <ac:chgData name="Philipp Forster" userId="b742aaf2-8a0f-4ee3-b486-82a1d0a06832" providerId="ADAL" clId="{49FDA4E2-BEE0-4614-B6DC-4CFB0F75C955}" dt="2023-03-12T04:57:19.606" v="4052" actId="1038"/>
          <ac:picMkLst>
            <pc:docMk/>
            <pc:sldMk cId="3694267384" sldId="344"/>
            <ac:picMk id="12" creationId="{3A02D8A3-A060-B659-2764-394ED8D2491D}"/>
          </ac:picMkLst>
        </pc:picChg>
        <pc:picChg chg="add mod">
          <ac:chgData name="Philipp Forster" userId="b742aaf2-8a0f-4ee3-b486-82a1d0a06832" providerId="ADAL" clId="{49FDA4E2-BEE0-4614-B6DC-4CFB0F75C955}" dt="2023-03-12T04:57:19.606" v="4052" actId="1038"/>
          <ac:picMkLst>
            <pc:docMk/>
            <pc:sldMk cId="3694267384" sldId="344"/>
            <ac:picMk id="13" creationId="{B80967D9-05A3-2831-F908-F98C66092272}"/>
          </ac:picMkLst>
        </pc:picChg>
      </pc:sldChg>
      <pc:sldChg chg="del">
        <pc:chgData name="Philipp Forster" userId="b742aaf2-8a0f-4ee3-b486-82a1d0a06832" providerId="ADAL" clId="{49FDA4E2-BEE0-4614-B6DC-4CFB0F75C955}" dt="2023-03-12T05:26:53.940" v="6451" actId="47"/>
        <pc:sldMkLst>
          <pc:docMk/>
          <pc:sldMk cId="3900031499" sldId="345"/>
        </pc:sldMkLst>
      </pc:sldChg>
      <pc:sldChg chg="addSp delSp modSp new add mod">
        <pc:chgData name="Philipp Forster" userId="b742aaf2-8a0f-4ee3-b486-82a1d0a06832" providerId="ADAL" clId="{49FDA4E2-BEE0-4614-B6DC-4CFB0F75C955}" dt="2023-03-12T04:51:00.244" v="3620" actId="688"/>
        <pc:sldMkLst>
          <pc:docMk/>
          <pc:sldMk cId="127089015" sldId="346"/>
        </pc:sldMkLst>
        <pc:spChg chg="mod">
          <ac:chgData name="Philipp Forster" userId="b742aaf2-8a0f-4ee3-b486-82a1d0a06832" providerId="ADAL" clId="{49FDA4E2-BEE0-4614-B6DC-4CFB0F75C955}" dt="2023-03-11T16:20:54.468" v="269" actId="20577"/>
          <ac:spMkLst>
            <pc:docMk/>
            <pc:sldMk cId="127089015" sldId="346"/>
            <ac:spMk id="2" creationId="{73A28810-1B3F-8036-CD3F-B0B00A228A6A}"/>
          </ac:spMkLst>
        </pc:spChg>
        <pc:spChg chg="mod">
          <ac:chgData name="Philipp Forster" userId="b742aaf2-8a0f-4ee3-b486-82a1d0a06832" providerId="ADAL" clId="{49FDA4E2-BEE0-4614-B6DC-4CFB0F75C955}" dt="2023-03-12T04:50:57.374" v="3619" actId="1076"/>
          <ac:spMkLst>
            <pc:docMk/>
            <pc:sldMk cId="127089015" sldId="346"/>
            <ac:spMk id="4" creationId="{F4E5ABF3-4D8B-5977-878A-2B9896E29D92}"/>
          </ac:spMkLst>
        </pc:spChg>
        <pc:spChg chg="add del mod">
          <ac:chgData name="Philipp Forster" userId="b742aaf2-8a0f-4ee3-b486-82a1d0a06832" providerId="ADAL" clId="{49FDA4E2-BEE0-4614-B6DC-4CFB0F75C955}" dt="2023-03-12T04:08:55.067" v="536" actId="478"/>
          <ac:spMkLst>
            <pc:docMk/>
            <pc:sldMk cId="127089015" sldId="346"/>
            <ac:spMk id="5" creationId="{AD86FA31-9CA1-0A4A-4F26-729C9B72E415}"/>
          </ac:spMkLst>
        </pc:spChg>
        <pc:picChg chg="add mod">
          <ac:chgData name="Philipp Forster" userId="b742aaf2-8a0f-4ee3-b486-82a1d0a06832" providerId="ADAL" clId="{49FDA4E2-BEE0-4614-B6DC-4CFB0F75C955}" dt="2023-03-12T04:09:24.187" v="538" actId="14100"/>
          <ac:picMkLst>
            <pc:docMk/>
            <pc:sldMk cId="127089015" sldId="346"/>
            <ac:picMk id="6" creationId="{2A3142DA-35D0-2884-FF2A-7496267244BF}"/>
          </ac:picMkLst>
        </pc:picChg>
        <pc:picChg chg="add del mod">
          <ac:chgData name="Philipp Forster" userId="b742aaf2-8a0f-4ee3-b486-82a1d0a06832" providerId="ADAL" clId="{49FDA4E2-BEE0-4614-B6DC-4CFB0F75C955}" dt="2023-03-12T04:49:46.699" v="3584" actId="478"/>
          <ac:picMkLst>
            <pc:docMk/>
            <pc:sldMk cId="127089015" sldId="346"/>
            <ac:picMk id="7" creationId="{D9B9C231-A2DD-E0D6-334C-307B3E287D51}"/>
          </ac:picMkLst>
        </pc:picChg>
        <pc:picChg chg="add mod">
          <ac:chgData name="Philipp Forster" userId="b742aaf2-8a0f-4ee3-b486-82a1d0a06832" providerId="ADAL" clId="{49FDA4E2-BEE0-4614-B6DC-4CFB0F75C955}" dt="2023-03-12T04:51:00.244" v="3620" actId="688"/>
          <ac:picMkLst>
            <pc:docMk/>
            <pc:sldMk cId="127089015" sldId="346"/>
            <ac:picMk id="8" creationId="{8AC8276B-0876-59DA-C504-71407E3ADF40}"/>
          </ac:picMkLst>
        </pc:picChg>
        <pc:picChg chg="add mod">
          <ac:chgData name="Philipp Forster" userId="b742aaf2-8a0f-4ee3-b486-82a1d0a06832" providerId="ADAL" clId="{49FDA4E2-BEE0-4614-B6DC-4CFB0F75C955}" dt="2023-03-12T04:51:00.244" v="3620" actId="688"/>
          <ac:picMkLst>
            <pc:docMk/>
            <pc:sldMk cId="127089015" sldId="346"/>
            <ac:picMk id="9" creationId="{3DBAFB1B-0B53-C16A-C52A-5348F43E639C}"/>
          </ac:picMkLst>
        </pc:picChg>
      </pc:sldChg>
      <pc:sldChg chg="add">
        <pc:chgData name="Philipp Forster" userId="b742aaf2-8a0f-4ee3-b486-82a1d0a06832" providerId="ADAL" clId="{49FDA4E2-BEE0-4614-B6DC-4CFB0F75C955}" dt="2023-03-12T04:11:40.307" v="541"/>
        <pc:sldMkLst>
          <pc:docMk/>
          <pc:sldMk cId="3741072769" sldId="347"/>
        </pc:sldMkLst>
      </pc:sldChg>
      <pc:sldChg chg="add del ord">
        <pc:chgData name="Philipp Forster" userId="b742aaf2-8a0f-4ee3-b486-82a1d0a06832" providerId="ADAL" clId="{49FDA4E2-BEE0-4614-B6DC-4CFB0F75C955}" dt="2023-03-12T04:15:10.983" v="562" actId="47"/>
        <pc:sldMkLst>
          <pc:docMk/>
          <pc:sldMk cId="18689051" sldId="348"/>
        </pc:sldMkLst>
      </pc:sldChg>
      <pc:sldChg chg="addSp delSp modSp new add del mod">
        <pc:chgData name="Philipp Forster" userId="b742aaf2-8a0f-4ee3-b486-82a1d0a06832" providerId="ADAL" clId="{49FDA4E2-BEE0-4614-B6DC-4CFB0F75C955}" dt="2023-03-12T04:18:02.853" v="758" actId="47"/>
        <pc:sldMkLst>
          <pc:docMk/>
          <pc:sldMk cId="88537857" sldId="348"/>
        </pc:sldMkLst>
        <pc:spChg chg="mod">
          <ac:chgData name="Philipp Forster" userId="b742aaf2-8a0f-4ee3-b486-82a1d0a06832" providerId="ADAL" clId="{49FDA4E2-BEE0-4614-B6DC-4CFB0F75C955}" dt="2023-03-12T04:15:48.581" v="606" actId="20577"/>
          <ac:spMkLst>
            <pc:docMk/>
            <pc:sldMk cId="88537857" sldId="348"/>
            <ac:spMk id="2" creationId="{1ABAFF6C-88EE-4C53-FB00-6AF632A8261C}"/>
          </ac:spMkLst>
        </pc:spChg>
        <pc:spChg chg="add del mod">
          <ac:chgData name="Philipp Forster" userId="b742aaf2-8a0f-4ee3-b486-82a1d0a06832" providerId="ADAL" clId="{49FDA4E2-BEE0-4614-B6DC-4CFB0F75C955}" dt="2023-03-12T04:17:15.994" v="745" actId="20577"/>
          <ac:spMkLst>
            <pc:docMk/>
            <pc:sldMk cId="88537857" sldId="348"/>
            <ac:spMk id="4" creationId="{BF650AFC-0F72-D9E3-0F23-F984A1340154}"/>
          </ac:spMkLst>
        </pc:spChg>
      </pc:sldChg>
      <pc:sldChg chg="modSp add mod ord">
        <pc:chgData name="Philipp Forster" userId="b742aaf2-8a0f-4ee3-b486-82a1d0a06832" providerId="ADAL" clId="{49FDA4E2-BEE0-4614-B6DC-4CFB0F75C955}" dt="2023-03-12T10:48:50.777" v="7847" actId="20577"/>
        <pc:sldMkLst>
          <pc:docMk/>
          <pc:sldMk cId="3947669100" sldId="349"/>
        </pc:sldMkLst>
        <pc:spChg chg="mod">
          <ac:chgData name="Philipp Forster" userId="b742aaf2-8a0f-4ee3-b486-82a1d0a06832" providerId="ADAL" clId="{49FDA4E2-BEE0-4614-B6DC-4CFB0F75C955}" dt="2023-03-12T04:17:58.275" v="757"/>
          <ac:spMkLst>
            <pc:docMk/>
            <pc:sldMk cId="3947669100" sldId="349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10:48:50.777" v="7847" actId="20577"/>
          <ac:spMkLst>
            <pc:docMk/>
            <pc:sldMk cId="3947669100" sldId="349"/>
            <ac:spMk id="3" creationId="{D60C4C43-8750-9063-5258-8830D7DE9B53}"/>
          </ac:spMkLst>
        </pc:spChg>
      </pc:sldChg>
      <pc:sldChg chg="addSp delSp modSp new add del mod">
        <pc:chgData name="Philipp Forster" userId="b742aaf2-8a0f-4ee3-b486-82a1d0a06832" providerId="ADAL" clId="{49FDA4E2-BEE0-4614-B6DC-4CFB0F75C955}" dt="2023-03-12T04:25:53.642" v="1092" actId="47"/>
        <pc:sldMkLst>
          <pc:docMk/>
          <pc:sldMk cId="3965758581" sldId="350"/>
        </pc:sldMkLst>
        <pc:spChg chg="mod">
          <ac:chgData name="Philipp Forster" userId="b742aaf2-8a0f-4ee3-b486-82a1d0a06832" providerId="ADAL" clId="{49FDA4E2-BEE0-4614-B6DC-4CFB0F75C955}" dt="2023-03-12T04:20:05.183" v="810" actId="20577"/>
          <ac:spMkLst>
            <pc:docMk/>
            <pc:sldMk cId="3965758581" sldId="350"/>
            <ac:spMk id="2" creationId="{11857523-68FF-B2ED-C7F1-27E47D16C13F}"/>
          </ac:spMkLst>
        </pc:spChg>
        <pc:spChg chg="del">
          <ac:chgData name="Philipp Forster" userId="b742aaf2-8a0f-4ee3-b486-82a1d0a06832" providerId="ADAL" clId="{49FDA4E2-BEE0-4614-B6DC-4CFB0F75C955}" dt="2023-03-12T04:20:15.777" v="811" actId="478"/>
          <ac:spMkLst>
            <pc:docMk/>
            <pc:sldMk cId="3965758581" sldId="350"/>
            <ac:spMk id="4" creationId="{C7B1197F-3B61-1589-F7F1-A627A6F229E5}"/>
          </ac:spMkLst>
        </pc:spChg>
        <pc:spChg chg="add del mod">
          <ac:chgData name="Philipp Forster" userId="b742aaf2-8a0f-4ee3-b486-82a1d0a06832" providerId="ADAL" clId="{49FDA4E2-BEE0-4614-B6DC-4CFB0F75C955}" dt="2023-03-12T04:23:15.046" v="899" actId="478"/>
          <ac:spMkLst>
            <pc:docMk/>
            <pc:sldMk cId="3965758581" sldId="350"/>
            <ac:spMk id="5" creationId="{493C7B56-0CE5-366D-7936-6EE7127BB5D6}"/>
          </ac:spMkLst>
        </pc:spChg>
        <pc:spChg chg="add del mod">
          <ac:chgData name="Philipp Forster" userId="b742aaf2-8a0f-4ee3-b486-82a1d0a06832" providerId="ADAL" clId="{49FDA4E2-BEE0-4614-B6DC-4CFB0F75C955}" dt="2023-03-12T04:23:15.046" v="899" actId="478"/>
          <ac:spMkLst>
            <pc:docMk/>
            <pc:sldMk cId="3965758581" sldId="350"/>
            <ac:spMk id="6" creationId="{014BE980-A416-8949-8C4F-824546FD2446}"/>
          </ac:spMkLst>
        </pc:spChg>
        <pc:spChg chg="add del mod">
          <ac:chgData name="Philipp Forster" userId="b742aaf2-8a0f-4ee3-b486-82a1d0a06832" providerId="ADAL" clId="{49FDA4E2-BEE0-4614-B6DC-4CFB0F75C955}" dt="2023-03-12T04:23:15.046" v="899" actId="478"/>
          <ac:spMkLst>
            <pc:docMk/>
            <pc:sldMk cId="3965758581" sldId="350"/>
            <ac:spMk id="7" creationId="{38E2C7D7-A0D8-E7F9-E979-A979525625D2}"/>
          </ac:spMkLst>
        </pc:spChg>
        <pc:spChg chg="add del mod">
          <ac:chgData name="Philipp Forster" userId="b742aaf2-8a0f-4ee3-b486-82a1d0a06832" providerId="ADAL" clId="{49FDA4E2-BEE0-4614-B6DC-4CFB0F75C955}" dt="2023-03-12T04:23:15.046" v="899" actId="478"/>
          <ac:spMkLst>
            <pc:docMk/>
            <pc:sldMk cId="3965758581" sldId="350"/>
            <ac:spMk id="8" creationId="{130AD9A4-8C4D-D641-0B25-35B5D2B3244B}"/>
          </ac:spMkLst>
        </pc:spChg>
        <pc:spChg chg="add del mod">
          <ac:chgData name="Philipp Forster" userId="b742aaf2-8a0f-4ee3-b486-82a1d0a06832" providerId="ADAL" clId="{49FDA4E2-BEE0-4614-B6DC-4CFB0F75C955}" dt="2023-03-12T04:23:15.046" v="899" actId="478"/>
          <ac:spMkLst>
            <pc:docMk/>
            <pc:sldMk cId="3965758581" sldId="350"/>
            <ac:spMk id="9" creationId="{CE2D3A03-6CB2-8FE7-3A5C-1DE5B4F0686B}"/>
          </ac:spMkLst>
        </pc:spChg>
      </pc:sldChg>
      <pc:sldChg chg="modSp add del mod ord">
        <pc:chgData name="Philipp Forster" userId="b742aaf2-8a0f-4ee3-b486-82a1d0a06832" providerId="ADAL" clId="{49FDA4E2-BEE0-4614-B6DC-4CFB0F75C955}" dt="2023-03-12T04:25:43.097" v="1088" actId="47"/>
        <pc:sldMkLst>
          <pc:docMk/>
          <pc:sldMk cId="671346368" sldId="351"/>
        </pc:sldMkLst>
        <pc:spChg chg="mod">
          <ac:chgData name="Philipp Forster" userId="b742aaf2-8a0f-4ee3-b486-82a1d0a06832" providerId="ADAL" clId="{49FDA4E2-BEE0-4614-B6DC-4CFB0F75C955}" dt="2023-03-12T04:23:52.944" v="904"/>
          <ac:spMkLst>
            <pc:docMk/>
            <pc:sldMk cId="671346368" sldId="351"/>
            <ac:spMk id="2" creationId="{6E1811A0-B06E-A546-A365-5D01F64B0AF6}"/>
          </ac:spMkLst>
        </pc:spChg>
        <pc:spChg chg="mod">
          <ac:chgData name="Philipp Forster" userId="b742aaf2-8a0f-4ee3-b486-82a1d0a06832" providerId="ADAL" clId="{49FDA4E2-BEE0-4614-B6DC-4CFB0F75C955}" dt="2023-03-12T04:24:46.025" v="1087" actId="20577"/>
          <ac:spMkLst>
            <pc:docMk/>
            <pc:sldMk cId="671346368" sldId="351"/>
            <ac:spMk id="8" creationId="{18732CF9-136C-4E4C-B99A-067BAC6D12AF}"/>
          </ac:spMkLst>
        </pc:spChg>
      </pc:sldChg>
      <pc:sldChg chg="modSp add del mod">
        <pc:chgData name="Philipp Forster" userId="b742aaf2-8a0f-4ee3-b486-82a1d0a06832" providerId="ADAL" clId="{49FDA4E2-BEE0-4614-B6DC-4CFB0F75C955}" dt="2023-03-12T05:41:43.554" v="6749" actId="47"/>
        <pc:sldMkLst>
          <pc:docMk/>
          <pc:sldMk cId="1796331406" sldId="351"/>
        </pc:sldMkLst>
        <pc:spChg chg="mod">
          <ac:chgData name="Philipp Forster" userId="b742aaf2-8a0f-4ee3-b486-82a1d0a06832" providerId="ADAL" clId="{49FDA4E2-BEE0-4614-B6DC-4CFB0F75C955}" dt="2023-03-12T04:25:51.899" v="1091"/>
          <ac:spMkLst>
            <pc:docMk/>
            <pc:sldMk cId="1796331406" sldId="351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4:38:37.456" v="2914" actId="20577"/>
          <ac:spMkLst>
            <pc:docMk/>
            <pc:sldMk cId="1796331406" sldId="351"/>
            <ac:spMk id="3" creationId="{D60C4C43-8750-9063-5258-8830D7DE9B53}"/>
          </ac:spMkLst>
        </pc:spChg>
      </pc:sldChg>
      <pc:sldChg chg="addSp delSp modSp new add mod">
        <pc:chgData name="Philipp Forster" userId="b742aaf2-8a0f-4ee3-b486-82a1d0a06832" providerId="ADAL" clId="{49FDA4E2-BEE0-4614-B6DC-4CFB0F75C955}" dt="2023-03-12T04:47:29.133" v="3394" actId="5793"/>
        <pc:sldMkLst>
          <pc:docMk/>
          <pc:sldMk cId="3957934177" sldId="352"/>
        </pc:sldMkLst>
        <pc:spChg chg="mod">
          <ac:chgData name="Philipp Forster" userId="b742aaf2-8a0f-4ee3-b486-82a1d0a06832" providerId="ADAL" clId="{49FDA4E2-BEE0-4614-B6DC-4CFB0F75C955}" dt="2023-03-12T04:47:29.133" v="3394" actId="5793"/>
          <ac:spMkLst>
            <pc:docMk/>
            <pc:sldMk cId="3957934177" sldId="352"/>
            <ac:spMk id="2" creationId="{D4E8A39B-1DB7-13B2-D3A0-766CFDC8A638}"/>
          </ac:spMkLst>
        </pc:spChg>
        <pc:spChg chg="add del">
          <ac:chgData name="Philipp Forster" userId="b742aaf2-8a0f-4ee3-b486-82a1d0a06832" providerId="ADAL" clId="{49FDA4E2-BEE0-4614-B6DC-4CFB0F75C955}" dt="2023-03-12T04:41:05.755" v="2988" actId="478"/>
          <ac:spMkLst>
            <pc:docMk/>
            <pc:sldMk cId="3957934177" sldId="352"/>
            <ac:spMk id="4" creationId="{0EDFFCEB-AAB6-9369-8957-C0225FA53F5E}"/>
          </ac:spMkLst>
        </pc:spChg>
        <pc:spChg chg="add del mod">
          <ac:chgData name="Philipp Forster" userId="b742aaf2-8a0f-4ee3-b486-82a1d0a06832" providerId="ADAL" clId="{49FDA4E2-BEE0-4614-B6DC-4CFB0F75C955}" dt="2023-03-12T04:41:13.262" v="3022" actId="478"/>
          <ac:spMkLst>
            <pc:docMk/>
            <pc:sldMk cId="3957934177" sldId="352"/>
            <ac:spMk id="8" creationId="{49577E9F-FADF-9889-3517-2E494C618226}"/>
          </ac:spMkLst>
        </pc:spChg>
        <pc:spChg chg="add mod">
          <ac:chgData name="Philipp Forster" userId="b742aaf2-8a0f-4ee3-b486-82a1d0a06832" providerId="ADAL" clId="{49FDA4E2-BEE0-4614-B6DC-4CFB0F75C955}" dt="2023-03-12T04:44:24.315" v="3080" actId="1076"/>
          <ac:spMkLst>
            <pc:docMk/>
            <pc:sldMk cId="3957934177" sldId="352"/>
            <ac:spMk id="9" creationId="{2F9F1232-2261-9E99-3844-7607C04A3B71}"/>
          </ac:spMkLst>
        </pc:spChg>
        <pc:spChg chg="add mod">
          <ac:chgData name="Philipp Forster" userId="b742aaf2-8a0f-4ee3-b486-82a1d0a06832" providerId="ADAL" clId="{49FDA4E2-BEE0-4614-B6DC-4CFB0F75C955}" dt="2023-03-12T04:44:24.315" v="3080" actId="1076"/>
          <ac:spMkLst>
            <pc:docMk/>
            <pc:sldMk cId="3957934177" sldId="352"/>
            <ac:spMk id="11" creationId="{42E90FA0-2D50-6FA7-64F9-C44A696E88C7}"/>
          </ac:spMkLst>
        </pc:spChg>
        <pc:spChg chg="add mod">
          <ac:chgData name="Philipp Forster" userId="b742aaf2-8a0f-4ee3-b486-82a1d0a06832" providerId="ADAL" clId="{49FDA4E2-BEE0-4614-B6DC-4CFB0F75C955}" dt="2023-03-12T04:44:24.315" v="3080" actId="1076"/>
          <ac:spMkLst>
            <pc:docMk/>
            <pc:sldMk cId="3957934177" sldId="352"/>
            <ac:spMk id="12" creationId="{E623AE16-05F0-75A6-158E-0DCBC251DF83}"/>
          </ac:spMkLst>
        </pc:spChg>
        <pc:spChg chg="add mod">
          <ac:chgData name="Philipp Forster" userId="b742aaf2-8a0f-4ee3-b486-82a1d0a06832" providerId="ADAL" clId="{49FDA4E2-BEE0-4614-B6DC-4CFB0F75C955}" dt="2023-03-12T04:47:09.502" v="3390" actId="12"/>
          <ac:spMkLst>
            <pc:docMk/>
            <pc:sldMk cId="3957934177" sldId="352"/>
            <ac:spMk id="13" creationId="{84A81524-2723-C2C0-FEAD-9B8AB3076E24}"/>
          </ac:spMkLst>
        </pc:spChg>
        <pc:spChg chg="add mod">
          <ac:chgData name="Philipp Forster" userId="b742aaf2-8a0f-4ee3-b486-82a1d0a06832" providerId="ADAL" clId="{49FDA4E2-BEE0-4614-B6DC-4CFB0F75C955}" dt="2023-03-12T04:47:12.275" v="3391" actId="12"/>
          <ac:spMkLst>
            <pc:docMk/>
            <pc:sldMk cId="3957934177" sldId="352"/>
            <ac:spMk id="14" creationId="{ECBE2B5E-8439-698E-DE4D-B1DDC6A7E3D5}"/>
          </ac:spMkLst>
        </pc:spChg>
        <pc:spChg chg="add mod">
          <ac:chgData name="Philipp Forster" userId="b742aaf2-8a0f-4ee3-b486-82a1d0a06832" providerId="ADAL" clId="{49FDA4E2-BEE0-4614-B6DC-4CFB0F75C955}" dt="2023-03-12T04:47:15.317" v="3392" actId="12"/>
          <ac:spMkLst>
            <pc:docMk/>
            <pc:sldMk cId="3957934177" sldId="352"/>
            <ac:spMk id="15" creationId="{1D740D47-E7A9-E8EC-37D7-9B2D40B5D229}"/>
          </ac:spMkLst>
        </pc:spChg>
        <pc:picChg chg="add del mod">
          <ac:chgData name="Philipp Forster" userId="b742aaf2-8a0f-4ee3-b486-82a1d0a06832" providerId="ADAL" clId="{49FDA4E2-BEE0-4614-B6DC-4CFB0F75C955}" dt="2023-03-12T04:40:03.176" v="2980"/>
          <ac:picMkLst>
            <pc:docMk/>
            <pc:sldMk cId="3957934177" sldId="352"/>
            <ac:picMk id="5" creationId="{9D3489FA-9B3F-9EB7-B965-F8B8A18435E7}"/>
          </ac:picMkLst>
        </pc:picChg>
        <pc:picChg chg="add del mod">
          <ac:chgData name="Philipp Forster" userId="b742aaf2-8a0f-4ee3-b486-82a1d0a06832" providerId="ADAL" clId="{49FDA4E2-BEE0-4614-B6DC-4CFB0F75C955}" dt="2023-03-12T04:43:55.984" v="3078" actId="478"/>
          <ac:picMkLst>
            <pc:docMk/>
            <pc:sldMk cId="3957934177" sldId="352"/>
            <ac:picMk id="6" creationId="{129724C3-1CA8-0A50-C34E-0E60B6328590}"/>
          </ac:picMkLst>
        </pc:picChg>
        <pc:picChg chg="add mod">
          <ac:chgData name="Philipp Forster" userId="b742aaf2-8a0f-4ee3-b486-82a1d0a06832" providerId="ADAL" clId="{49FDA4E2-BEE0-4614-B6DC-4CFB0F75C955}" dt="2023-03-12T04:44:24.315" v="3080" actId="1076"/>
          <ac:picMkLst>
            <pc:docMk/>
            <pc:sldMk cId="3957934177" sldId="352"/>
            <ac:picMk id="7" creationId="{7D1961B3-3202-4DB1-0430-1BB7C24C64A9}"/>
          </ac:picMkLst>
        </pc:picChg>
        <pc:picChg chg="add mod">
          <ac:chgData name="Philipp Forster" userId="b742aaf2-8a0f-4ee3-b486-82a1d0a06832" providerId="ADAL" clId="{49FDA4E2-BEE0-4614-B6DC-4CFB0F75C955}" dt="2023-03-12T04:44:24.315" v="3080" actId="1076"/>
          <ac:picMkLst>
            <pc:docMk/>
            <pc:sldMk cId="3957934177" sldId="352"/>
            <ac:picMk id="10" creationId="{E349E407-05D9-3A0F-E594-916911DF9EE1}"/>
          </ac:picMkLst>
        </pc:picChg>
      </pc:sldChg>
      <pc:sldChg chg="addSp delSp modSp add mod">
        <pc:chgData name="Philipp Forster" userId="b742aaf2-8a0f-4ee3-b486-82a1d0a06832" providerId="ADAL" clId="{49FDA4E2-BEE0-4614-B6DC-4CFB0F75C955}" dt="2023-03-12T10:49:40.856" v="7866" actId="6549"/>
        <pc:sldMkLst>
          <pc:docMk/>
          <pc:sldMk cId="4113751261" sldId="353"/>
        </pc:sldMkLst>
        <pc:spChg chg="del">
          <ac:chgData name="Philipp Forster" userId="b742aaf2-8a0f-4ee3-b486-82a1d0a06832" providerId="ADAL" clId="{49FDA4E2-BEE0-4614-B6DC-4CFB0F75C955}" dt="2023-03-12T05:00:44.853" v="4163" actId="478"/>
          <ac:spMkLst>
            <pc:docMk/>
            <pc:sldMk cId="4113751261" sldId="353"/>
            <ac:spMk id="3" creationId="{D60C4C43-8750-9063-5258-8830D7DE9B53}"/>
          </ac:spMkLst>
        </pc:spChg>
        <pc:spChg chg="add mod">
          <ac:chgData name="Philipp Forster" userId="b742aaf2-8a0f-4ee3-b486-82a1d0a06832" providerId="ADAL" clId="{49FDA4E2-BEE0-4614-B6DC-4CFB0F75C955}" dt="2023-03-12T05:00:59.535" v="4167" actId="1076"/>
          <ac:spMkLst>
            <pc:docMk/>
            <pc:sldMk cId="4113751261" sldId="353"/>
            <ac:spMk id="5" creationId="{1E746733-A5E0-A90F-2E17-135C6422CB8F}"/>
          </ac:spMkLst>
        </pc:spChg>
        <pc:spChg chg="add mod">
          <ac:chgData name="Philipp Forster" userId="b742aaf2-8a0f-4ee3-b486-82a1d0a06832" providerId="ADAL" clId="{49FDA4E2-BEE0-4614-B6DC-4CFB0F75C955}" dt="2023-03-12T10:49:40.856" v="7866" actId="6549"/>
          <ac:spMkLst>
            <pc:docMk/>
            <pc:sldMk cId="4113751261" sldId="353"/>
            <ac:spMk id="6" creationId="{BC8AE18E-E92A-AC26-9C0E-18EAC816A785}"/>
          </ac:spMkLst>
        </pc:spChg>
        <pc:spChg chg="add mod">
          <ac:chgData name="Philipp Forster" userId="b742aaf2-8a0f-4ee3-b486-82a1d0a06832" providerId="ADAL" clId="{49FDA4E2-BEE0-4614-B6DC-4CFB0F75C955}" dt="2023-03-12T05:01:11.205" v="4168" actId="1076"/>
          <ac:spMkLst>
            <pc:docMk/>
            <pc:sldMk cId="4113751261" sldId="353"/>
            <ac:spMk id="7" creationId="{A7CBF794-2B7D-3506-22D0-56BBB3C2C06C}"/>
          </ac:spMkLst>
        </pc:spChg>
        <pc:spChg chg="add mod">
          <ac:chgData name="Philipp Forster" userId="b742aaf2-8a0f-4ee3-b486-82a1d0a06832" providerId="ADAL" clId="{49FDA4E2-BEE0-4614-B6DC-4CFB0F75C955}" dt="2023-03-12T10:49:16.699" v="7858" actId="6549"/>
          <ac:spMkLst>
            <pc:docMk/>
            <pc:sldMk cId="4113751261" sldId="353"/>
            <ac:spMk id="8" creationId="{13443D10-1DBB-9DC3-B7ED-AB244BE6C04E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9" creationId="{8AC72216-4D4C-1B59-521E-849BB9A6987A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10" creationId="{D9C8FD23-8A2E-C46C-6AEA-A4DE96FB608D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11" creationId="{57B0DDAC-6B37-9DDB-866F-FA288A37C229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12" creationId="{F70EA36D-2BB5-C42D-632A-7FF3CB258CAE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13" creationId="{279CAE34-0F18-DA43-54B2-4F4E8780719C}"/>
          </ac:spMkLst>
        </pc:spChg>
        <pc:spChg chg="add del mod">
          <ac:chgData name="Philipp Forster" userId="b742aaf2-8a0f-4ee3-b486-82a1d0a06832" providerId="ADAL" clId="{49FDA4E2-BEE0-4614-B6DC-4CFB0F75C955}" dt="2023-03-12T05:01:55.738" v="4177" actId="478"/>
          <ac:spMkLst>
            <pc:docMk/>
            <pc:sldMk cId="4113751261" sldId="353"/>
            <ac:spMk id="14" creationId="{E328900E-A25E-7EA5-DCE7-912FC35C3DAA}"/>
          </ac:spMkLst>
        </pc:spChg>
        <pc:spChg chg="add del mod">
          <ac:chgData name="Philipp Forster" userId="b742aaf2-8a0f-4ee3-b486-82a1d0a06832" providerId="ADAL" clId="{49FDA4E2-BEE0-4614-B6DC-4CFB0F75C955}" dt="2023-03-12T05:00:46.338" v="4164" actId="478"/>
          <ac:spMkLst>
            <pc:docMk/>
            <pc:sldMk cId="4113751261" sldId="353"/>
            <ac:spMk id="16" creationId="{06E9E674-1B45-0E0A-37C8-DD5B64A6F371}"/>
          </ac:spMkLst>
        </pc:spChg>
      </pc:sldChg>
      <pc:sldChg chg="delSp modSp add mod">
        <pc:chgData name="Philipp Forster" userId="b742aaf2-8a0f-4ee3-b486-82a1d0a06832" providerId="ADAL" clId="{49FDA4E2-BEE0-4614-B6DC-4CFB0F75C955}" dt="2023-03-12T10:49:53.520" v="7869" actId="6549"/>
        <pc:sldMkLst>
          <pc:docMk/>
          <pc:sldMk cId="710199131" sldId="354"/>
        </pc:sldMkLst>
        <pc:spChg chg="del">
          <ac:chgData name="Philipp Forster" userId="b742aaf2-8a0f-4ee3-b486-82a1d0a06832" providerId="ADAL" clId="{49FDA4E2-BEE0-4614-B6DC-4CFB0F75C955}" dt="2023-03-12T05:01:30.209" v="4172" actId="478"/>
          <ac:spMkLst>
            <pc:docMk/>
            <pc:sldMk cId="710199131" sldId="354"/>
            <ac:spMk id="5" creationId="{1E746733-A5E0-A90F-2E17-135C6422CB8F}"/>
          </ac:spMkLst>
        </pc:spChg>
        <pc:spChg chg="del">
          <ac:chgData name="Philipp Forster" userId="b742aaf2-8a0f-4ee3-b486-82a1d0a06832" providerId="ADAL" clId="{49FDA4E2-BEE0-4614-B6DC-4CFB0F75C955}" dt="2023-03-12T05:01:30.209" v="4172" actId="478"/>
          <ac:spMkLst>
            <pc:docMk/>
            <pc:sldMk cId="710199131" sldId="354"/>
            <ac:spMk id="6" creationId="{BC8AE18E-E92A-AC26-9C0E-18EAC816A785}"/>
          </ac:spMkLst>
        </pc:spChg>
        <pc:spChg chg="del">
          <ac:chgData name="Philipp Forster" userId="b742aaf2-8a0f-4ee3-b486-82a1d0a06832" providerId="ADAL" clId="{49FDA4E2-BEE0-4614-B6DC-4CFB0F75C955}" dt="2023-03-12T05:01:37.641" v="4174" actId="478"/>
          <ac:spMkLst>
            <pc:docMk/>
            <pc:sldMk cId="710199131" sldId="354"/>
            <ac:spMk id="7" creationId="{A7CBF794-2B7D-3506-22D0-56BBB3C2C06C}"/>
          </ac:spMkLst>
        </pc:spChg>
        <pc:spChg chg="del">
          <ac:chgData name="Philipp Forster" userId="b742aaf2-8a0f-4ee3-b486-82a1d0a06832" providerId="ADAL" clId="{49FDA4E2-BEE0-4614-B6DC-4CFB0F75C955}" dt="2023-03-12T05:01:37.641" v="4174" actId="478"/>
          <ac:spMkLst>
            <pc:docMk/>
            <pc:sldMk cId="710199131" sldId="354"/>
            <ac:spMk id="8" creationId="{13443D10-1DBB-9DC3-B7ED-AB244BE6C04E}"/>
          </ac:spMkLst>
        </pc:spChg>
        <pc:spChg chg="mod">
          <ac:chgData name="Philipp Forster" userId="b742aaf2-8a0f-4ee3-b486-82a1d0a06832" providerId="ADAL" clId="{49FDA4E2-BEE0-4614-B6DC-4CFB0F75C955}" dt="2023-03-12T05:05:29.355" v="4277" actId="20577"/>
          <ac:spMkLst>
            <pc:docMk/>
            <pc:sldMk cId="710199131" sldId="354"/>
            <ac:spMk id="9" creationId="{8AC72216-4D4C-1B59-521E-849BB9A6987A}"/>
          </ac:spMkLst>
        </pc:spChg>
        <pc:spChg chg="mod">
          <ac:chgData name="Philipp Forster" userId="b742aaf2-8a0f-4ee3-b486-82a1d0a06832" providerId="ADAL" clId="{49FDA4E2-BEE0-4614-B6DC-4CFB0F75C955}" dt="2023-03-12T10:49:53.520" v="7869" actId="6549"/>
          <ac:spMkLst>
            <pc:docMk/>
            <pc:sldMk cId="710199131" sldId="354"/>
            <ac:spMk id="10" creationId="{D9C8FD23-8A2E-C46C-6AEA-A4DE96FB608D}"/>
          </ac:spMkLst>
        </pc:spChg>
        <pc:spChg chg="mod">
          <ac:chgData name="Philipp Forster" userId="b742aaf2-8a0f-4ee3-b486-82a1d0a06832" providerId="ADAL" clId="{49FDA4E2-BEE0-4614-B6DC-4CFB0F75C955}" dt="2023-03-12T05:01:44.872" v="4175" actId="1076"/>
          <ac:spMkLst>
            <pc:docMk/>
            <pc:sldMk cId="710199131" sldId="354"/>
            <ac:spMk id="11" creationId="{57B0DDAC-6B37-9DDB-866F-FA288A37C229}"/>
          </ac:spMkLst>
        </pc:spChg>
        <pc:spChg chg="mod">
          <ac:chgData name="Philipp Forster" userId="b742aaf2-8a0f-4ee3-b486-82a1d0a06832" providerId="ADAL" clId="{49FDA4E2-BEE0-4614-B6DC-4CFB0F75C955}" dt="2023-03-12T05:01:44.872" v="4175" actId="1076"/>
          <ac:spMkLst>
            <pc:docMk/>
            <pc:sldMk cId="710199131" sldId="354"/>
            <ac:spMk id="12" creationId="{F70EA36D-2BB5-C42D-632A-7FF3CB258CAE}"/>
          </ac:spMkLst>
        </pc:spChg>
        <pc:spChg chg="mod">
          <ac:chgData name="Philipp Forster" userId="b742aaf2-8a0f-4ee3-b486-82a1d0a06832" providerId="ADAL" clId="{49FDA4E2-BEE0-4614-B6DC-4CFB0F75C955}" dt="2023-03-12T05:01:48.950" v="4176" actId="1076"/>
          <ac:spMkLst>
            <pc:docMk/>
            <pc:sldMk cId="710199131" sldId="354"/>
            <ac:spMk id="13" creationId="{279CAE34-0F18-DA43-54B2-4F4E8780719C}"/>
          </ac:spMkLst>
        </pc:spChg>
        <pc:spChg chg="mod">
          <ac:chgData name="Philipp Forster" userId="b742aaf2-8a0f-4ee3-b486-82a1d0a06832" providerId="ADAL" clId="{49FDA4E2-BEE0-4614-B6DC-4CFB0F75C955}" dt="2023-03-12T05:01:48.950" v="4176" actId="1076"/>
          <ac:spMkLst>
            <pc:docMk/>
            <pc:sldMk cId="710199131" sldId="354"/>
            <ac:spMk id="14" creationId="{E328900E-A25E-7EA5-DCE7-912FC35C3DAA}"/>
          </ac:spMkLst>
        </pc:spChg>
      </pc:sldChg>
      <pc:sldChg chg="modSp new add del mod">
        <pc:chgData name="Philipp Forster" userId="b742aaf2-8a0f-4ee3-b486-82a1d0a06832" providerId="ADAL" clId="{49FDA4E2-BEE0-4614-B6DC-4CFB0F75C955}" dt="2023-03-12T05:05:26.613" v="4276" actId="680"/>
        <pc:sldMkLst>
          <pc:docMk/>
          <pc:sldMk cId="2246210232" sldId="355"/>
        </pc:sldMkLst>
        <pc:spChg chg="mod">
          <ac:chgData name="Philipp Forster" userId="b742aaf2-8a0f-4ee3-b486-82a1d0a06832" providerId="ADAL" clId="{49FDA4E2-BEE0-4614-B6DC-4CFB0F75C955}" dt="2023-03-12T05:05:25.283" v="4275" actId="20577"/>
          <ac:spMkLst>
            <pc:docMk/>
            <pc:sldMk cId="2246210232" sldId="355"/>
            <ac:spMk id="2" creationId="{C100D71D-E059-D471-4B7F-17247DF0B593}"/>
          </ac:spMkLst>
        </pc:spChg>
        <pc:spChg chg="mod">
          <ac:chgData name="Philipp Forster" userId="b742aaf2-8a0f-4ee3-b486-82a1d0a06832" providerId="ADAL" clId="{49FDA4E2-BEE0-4614-B6DC-4CFB0F75C955}" dt="2023-03-12T05:05:19.261" v="4266"/>
          <ac:spMkLst>
            <pc:docMk/>
            <pc:sldMk cId="2246210232" sldId="355"/>
            <ac:spMk id="4" creationId="{5311F091-1A57-A32C-D721-E513FC440BCA}"/>
          </ac:spMkLst>
        </pc:spChg>
      </pc:sldChg>
      <pc:sldChg chg="modSp add mod ord">
        <pc:chgData name="Philipp Forster" userId="b742aaf2-8a0f-4ee3-b486-82a1d0a06832" providerId="ADAL" clId="{49FDA4E2-BEE0-4614-B6DC-4CFB0F75C955}" dt="2023-03-12T05:25:47.584" v="6425" actId="255"/>
        <pc:sldMkLst>
          <pc:docMk/>
          <pc:sldMk cId="3468427173" sldId="355"/>
        </pc:sldMkLst>
        <pc:spChg chg="mod">
          <ac:chgData name="Philipp Forster" userId="b742aaf2-8a0f-4ee3-b486-82a1d0a06832" providerId="ADAL" clId="{49FDA4E2-BEE0-4614-B6DC-4CFB0F75C955}" dt="2023-03-12T05:05:46.019" v="4302" actId="20577"/>
          <ac:spMkLst>
            <pc:docMk/>
            <pc:sldMk cId="3468427173" sldId="355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5:47.584" v="6425" actId="255"/>
          <ac:spMkLst>
            <pc:docMk/>
            <pc:sldMk cId="3468427173" sldId="355"/>
            <ac:spMk id="3" creationId="{D60C4C43-8750-9063-5258-8830D7DE9B53}"/>
          </ac:spMkLst>
        </pc:spChg>
      </pc:sldChg>
      <pc:sldChg chg="modSp new add del mod">
        <pc:chgData name="Philipp Forster" userId="b742aaf2-8a0f-4ee3-b486-82a1d0a06832" providerId="ADAL" clId="{49FDA4E2-BEE0-4614-B6DC-4CFB0F75C955}" dt="2023-03-12T05:05:22.582" v="4273" actId="680"/>
        <pc:sldMkLst>
          <pc:docMk/>
          <pc:sldMk cId="630333381" sldId="356"/>
        </pc:sldMkLst>
        <pc:spChg chg="mod">
          <ac:chgData name="Philipp Forster" userId="b742aaf2-8a0f-4ee3-b486-82a1d0a06832" providerId="ADAL" clId="{49FDA4E2-BEE0-4614-B6DC-4CFB0F75C955}" dt="2023-03-12T05:05:21.961" v="4272"/>
          <ac:spMkLst>
            <pc:docMk/>
            <pc:sldMk cId="630333381" sldId="356"/>
            <ac:spMk id="2" creationId="{700F054B-420C-B857-5829-BA172E805615}"/>
          </ac:spMkLst>
        </pc:spChg>
      </pc:sldChg>
      <pc:sldChg chg="modSp add mod">
        <pc:chgData name="Philipp Forster" userId="b742aaf2-8a0f-4ee3-b486-82a1d0a06832" providerId="ADAL" clId="{49FDA4E2-BEE0-4614-B6DC-4CFB0F75C955}" dt="2023-03-12T05:25:42.310" v="6424" actId="255"/>
        <pc:sldMkLst>
          <pc:docMk/>
          <pc:sldMk cId="4277533761" sldId="356"/>
        </pc:sldMkLst>
        <pc:spChg chg="mod">
          <ac:chgData name="Philipp Forster" userId="b742aaf2-8a0f-4ee3-b486-82a1d0a06832" providerId="ADAL" clId="{49FDA4E2-BEE0-4614-B6DC-4CFB0F75C955}" dt="2023-03-12T05:07:22.342" v="4674" actId="20577"/>
          <ac:spMkLst>
            <pc:docMk/>
            <pc:sldMk cId="4277533761" sldId="356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5:42.310" v="6424" actId="255"/>
          <ac:spMkLst>
            <pc:docMk/>
            <pc:sldMk cId="4277533761" sldId="356"/>
            <ac:spMk id="3" creationId="{D60C4C43-8750-9063-5258-8830D7DE9B53}"/>
          </ac:spMkLst>
        </pc:spChg>
      </pc:sldChg>
      <pc:sldChg chg="modSp add mod">
        <pc:chgData name="Philipp Forster" userId="b742aaf2-8a0f-4ee3-b486-82a1d0a06832" providerId="ADAL" clId="{49FDA4E2-BEE0-4614-B6DC-4CFB0F75C955}" dt="2023-03-12T05:25:36.844" v="6423" actId="27636"/>
        <pc:sldMkLst>
          <pc:docMk/>
          <pc:sldMk cId="190112934" sldId="357"/>
        </pc:sldMkLst>
        <pc:spChg chg="mod">
          <ac:chgData name="Philipp Forster" userId="b742aaf2-8a0f-4ee3-b486-82a1d0a06832" providerId="ADAL" clId="{49FDA4E2-BEE0-4614-B6DC-4CFB0F75C955}" dt="2023-03-12T05:09:35.471" v="4882" actId="20577"/>
          <ac:spMkLst>
            <pc:docMk/>
            <pc:sldMk cId="190112934" sldId="357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5:36.844" v="6423" actId="27636"/>
          <ac:spMkLst>
            <pc:docMk/>
            <pc:sldMk cId="190112934" sldId="357"/>
            <ac:spMk id="3" creationId="{D60C4C43-8750-9063-5258-8830D7DE9B53}"/>
          </ac:spMkLst>
        </pc:spChg>
      </pc:sldChg>
      <pc:sldChg chg="modSp add mod">
        <pc:chgData name="Philipp Forster" userId="b742aaf2-8a0f-4ee3-b486-82a1d0a06832" providerId="ADAL" clId="{49FDA4E2-BEE0-4614-B6DC-4CFB0F75C955}" dt="2023-03-12T05:25:31.912" v="6421" actId="255"/>
        <pc:sldMkLst>
          <pc:docMk/>
          <pc:sldMk cId="1343741603" sldId="358"/>
        </pc:sldMkLst>
        <pc:spChg chg="mod">
          <ac:chgData name="Philipp Forster" userId="b742aaf2-8a0f-4ee3-b486-82a1d0a06832" providerId="ADAL" clId="{49FDA4E2-BEE0-4614-B6DC-4CFB0F75C955}" dt="2023-03-12T05:21:56.606" v="6002" actId="20577"/>
          <ac:spMkLst>
            <pc:docMk/>
            <pc:sldMk cId="1343741603" sldId="358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5:31.912" v="6421" actId="255"/>
          <ac:spMkLst>
            <pc:docMk/>
            <pc:sldMk cId="1343741603" sldId="358"/>
            <ac:spMk id="3" creationId="{D60C4C43-8750-9063-5258-8830D7DE9B53}"/>
          </ac:spMkLst>
        </pc:spChg>
      </pc:sldChg>
      <pc:sldChg chg="modSp add mod">
        <pc:chgData name="Philipp Forster" userId="b742aaf2-8a0f-4ee3-b486-82a1d0a06832" providerId="ADAL" clId="{49FDA4E2-BEE0-4614-B6DC-4CFB0F75C955}" dt="2023-03-12T05:25:26.565" v="6420" actId="27636"/>
        <pc:sldMkLst>
          <pc:docMk/>
          <pc:sldMk cId="748430888" sldId="359"/>
        </pc:sldMkLst>
        <pc:spChg chg="mod">
          <ac:chgData name="Philipp Forster" userId="b742aaf2-8a0f-4ee3-b486-82a1d0a06832" providerId="ADAL" clId="{49FDA4E2-BEE0-4614-B6DC-4CFB0F75C955}" dt="2023-03-12T05:21:36.027" v="5957" actId="20577"/>
          <ac:spMkLst>
            <pc:docMk/>
            <pc:sldMk cId="748430888" sldId="359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5:26.565" v="6420" actId="27636"/>
          <ac:spMkLst>
            <pc:docMk/>
            <pc:sldMk cId="748430888" sldId="359"/>
            <ac:spMk id="3" creationId="{D60C4C43-8750-9063-5258-8830D7DE9B53}"/>
          </ac:spMkLst>
        </pc:spChg>
      </pc:sldChg>
      <pc:sldChg chg="modSp add mod">
        <pc:chgData name="Philipp Forster" userId="b742aaf2-8a0f-4ee3-b486-82a1d0a06832" providerId="ADAL" clId="{49FDA4E2-BEE0-4614-B6DC-4CFB0F75C955}" dt="2023-03-12T05:26:20.312" v="6450" actId="5793"/>
        <pc:sldMkLst>
          <pc:docMk/>
          <pc:sldMk cId="1727250290" sldId="360"/>
        </pc:sldMkLst>
        <pc:spChg chg="mod">
          <ac:chgData name="Philipp Forster" userId="b742aaf2-8a0f-4ee3-b486-82a1d0a06832" providerId="ADAL" clId="{49FDA4E2-BEE0-4614-B6DC-4CFB0F75C955}" dt="2023-03-12T05:22:06.614" v="6022" actId="20577"/>
          <ac:spMkLst>
            <pc:docMk/>
            <pc:sldMk cId="1727250290" sldId="360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05:26:20.312" v="6450" actId="5793"/>
          <ac:spMkLst>
            <pc:docMk/>
            <pc:sldMk cId="1727250290" sldId="360"/>
            <ac:spMk id="3" creationId="{D60C4C43-8750-9063-5258-8830D7DE9B53}"/>
          </ac:spMkLst>
        </pc:spChg>
      </pc:sldChg>
      <pc:sldChg chg="modSp add mod ord">
        <pc:chgData name="Philipp Forster" userId="b742aaf2-8a0f-4ee3-b486-82a1d0a06832" providerId="ADAL" clId="{49FDA4E2-BEE0-4614-B6DC-4CFB0F75C955}" dt="2023-03-12T10:38:38.107" v="7400" actId="20577"/>
        <pc:sldMkLst>
          <pc:docMk/>
          <pc:sldMk cId="1213799657" sldId="361"/>
        </pc:sldMkLst>
        <pc:spChg chg="mod">
          <ac:chgData name="Philipp Forster" userId="b742aaf2-8a0f-4ee3-b486-82a1d0a06832" providerId="ADAL" clId="{49FDA4E2-BEE0-4614-B6DC-4CFB0F75C955}" dt="2023-03-12T10:32:50.885" v="6781" actId="20577"/>
          <ac:spMkLst>
            <pc:docMk/>
            <pc:sldMk cId="1213799657" sldId="361"/>
            <ac:spMk id="2" creationId="{6E1811A0-B06E-A546-A365-5D01F64B0AF6}"/>
          </ac:spMkLst>
        </pc:spChg>
        <pc:graphicFrameChg chg="modGraphic">
          <ac:chgData name="Philipp Forster" userId="b742aaf2-8a0f-4ee3-b486-82a1d0a06832" providerId="ADAL" clId="{49FDA4E2-BEE0-4614-B6DC-4CFB0F75C955}" dt="2023-03-12T10:38:38.107" v="7400" actId="20577"/>
          <ac:graphicFrameMkLst>
            <pc:docMk/>
            <pc:sldMk cId="1213799657" sldId="361"/>
            <ac:graphicFrameMk id="42" creationId="{734ED974-85B0-804C-A4EA-FEDFBD33257F}"/>
          </ac:graphicFrameMkLst>
        </pc:graphicFrameChg>
      </pc:sldChg>
      <pc:sldChg chg="modSp add mod ord">
        <pc:chgData name="Philipp Forster" userId="b742aaf2-8a0f-4ee3-b486-82a1d0a06832" providerId="ADAL" clId="{49FDA4E2-BEE0-4614-B6DC-4CFB0F75C955}" dt="2023-03-12T10:37:39.260" v="7345"/>
        <pc:sldMkLst>
          <pc:docMk/>
          <pc:sldMk cId="3265964388" sldId="362"/>
        </pc:sldMkLst>
        <pc:spChg chg="mod">
          <ac:chgData name="Philipp Forster" userId="b742aaf2-8a0f-4ee3-b486-82a1d0a06832" providerId="ADAL" clId="{49FDA4E2-BEE0-4614-B6DC-4CFB0F75C955}" dt="2023-03-12T10:34:54.021" v="6955" actId="20577"/>
          <ac:spMkLst>
            <pc:docMk/>
            <pc:sldMk cId="3265964388" sldId="362"/>
            <ac:spMk id="2" creationId="{C55FCED6-9D9B-32E8-F6D4-DBC50E13117C}"/>
          </ac:spMkLst>
        </pc:spChg>
        <pc:spChg chg="mod">
          <ac:chgData name="Philipp Forster" userId="b742aaf2-8a0f-4ee3-b486-82a1d0a06832" providerId="ADAL" clId="{49FDA4E2-BEE0-4614-B6DC-4CFB0F75C955}" dt="2023-03-12T10:37:12.677" v="7343"/>
          <ac:spMkLst>
            <pc:docMk/>
            <pc:sldMk cId="3265964388" sldId="362"/>
            <ac:spMk id="3" creationId="{D60C4C43-8750-9063-5258-8830D7DE9B53}"/>
          </ac:spMkLst>
        </pc:spChg>
      </pc:sldChg>
      <pc:sldChg chg="modSp add mod ord">
        <pc:chgData name="Philipp Forster" userId="b742aaf2-8a0f-4ee3-b486-82a1d0a06832" providerId="ADAL" clId="{49FDA4E2-BEE0-4614-B6DC-4CFB0F75C955}" dt="2023-03-12T10:37:55.939" v="7390" actId="20577"/>
        <pc:sldMkLst>
          <pc:docMk/>
          <pc:sldMk cId="310306656" sldId="363"/>
        </pc:sldMkLst>
        <pc:spChg chg="mod">
          <ac:chgData name="Philipp Forster" userId="b742aaf2-8a0f-4ee3-b486-82a1d0a06832" providerId="ADAL" clId="{49FDA4E2-BEE0-4614-B6DC-4CFB0F75C955}" dt="2023-03-12T10:37:55.939" v="7390" actId="20577"/>
          <ac:spMkLst>
            <pc:docMk/>
            <pc:sldMk cId="310306656" sldId="363"/>
            <ac:spMk id="2" creationId="{6E1811A0-B06E-A546-A365-5D01F64B0AF6}"/>
          </ac:spMkLst>
        </pc:spChg>
      </pc:sldChg>
      <pc:sldChg chg="modSp add mod ord">
        <pc:chgData name="Philipp Forster" userId="b742aaf2-8a0f-4ee3-b486-82a1d0a06832" providerId="ADAL" clId="{49FDA4E2-BEE0-4614-B6DC-4CFB0F75C955}" dt="2023-03-12T10:39:53.455" v="7475" actId="20577"/>
        <pc:sldMkLst>
          <pc:docMk/>
          <pc:sldMk cId="3354665059" sldId="364"/>
        </pc:sldMkLst>
        <pc:spChg chg="mod">
          <ac:chgData name="Philipp Forster" userId="b742aaf2-8a0f-4ee3-b486-82a1d0a06832" providerId="ADAL" clId="{49FDA4E2-BEE0-4614-B6DC-4CFB0F75C955}" dt="2023-03-12T10:39:53.455" v="7475" actId="20577"/>
          <ac:spMkLst>
            <pc:docMk/>
            <pc:sldMk cId="3354665059" sldId="364"/>
            <ac:spMk id="2" creationId="{6E1811A0-B06E-A546-A365-5D01F64B0AF6}"/>
          </ac:spMkLst>
        </pc:spChg>
      </pc:sldChg>
      <pc:sldChg chg="addSp delSp modSp new add mod">
        <pc:chgData name="Philipp Forster" userId="b742aaf2-8a0f-4ee3-b486-82a1d0a06832" providerId="ADAL" clId="{49FDA4E2-BEE0-4614-B6DC-4CFB0F75C955}" dt="2023-03-12T10:41:03.078" v="7493" actId="207"/>
        <pc:sldMkLst>
          <pc:docMk/>
          <pc:sldMk cId="2478982633" sldId="365"/>
        </pc:sldMkLst>
        <pc:spChg chg="del">
          <ac:chgData name="Philipp Forster" userId="b742aaf2-8a0f-4ee3-b486-82a1d0a06832" providerId="ADAL" clId="{49FDA4E2-BEE0-4614-B6DC-4CFB0F75C955}" dt="2023-03-12T10:40:21.652" v="7478" actId="478"/>
          <ac:spMkLst>
            <pc:docMk/>
            <pc:sldMk cId="2478982633" sldId="365"/>
            <ac:spMk id="4" creationId="{83132758-CA2D-B0E6-FED2-831E230E8DFF}"/>
          </ac:spMkLst>
        </pc:spChg>
        <pc:spChg chg="add mod">
          <ac:chgData name="Philipp Forster" userId="b742aaf2-8a0f-4ee3-b486-82a1d0a06832" providerId="ADAL" clId="{49FDA4E2-BEE0-4614-B6DC-4CFB0F75C955}" dt="2023-03-12T10:40:41.266" v="7490" actId="20577"/>
          <ac:spMkLst>
            <pc:docMk/>
            <pc:sldMk cId="2478982633" sldId="365"/>
            <ac:spMk id="5" creationId="{726D7581-B4C8-700D-ABAD-56D1E431D2B5}"/>
          </ac:spMkLst>
        </pc:spChg>
        <pc:spChg chg="add mod">
          <ac:chgData name="Philipp Forster" userId="b742aaf2-8a0f-4ee3-b486-82a1d0a06832" providerId="ADAL" clId="{49FDA4E2-BEE0-4614-B6DC-4CFB0F75C955}" dt="2023-03-12T10:40:53.754" v="7491" actId="207"/>
          <ac:spMkLst>
            <pc:docMk/>
            <pc:sldMk cId="2478982633" sldId="365"/>
            <ac:spMk id="7" creationId="{FB4FC6A2-E4B5-99F2-BE2E-FA5EA9DA5AF9}"/>
          </ac:spMkLst>
        </pc:spChg>
        <pc:spChg chg="add mod">
          <ac:chgData name="Philipp Forster" userId="b742aaf2-8a0f-4ee3-b486-82a1d0a06832" providerId="ADAL" clId="{49FDA4E2-BEE0-4614-B6DC-4CFB0F75C955}" dt="2023-03-12T10:40:53.754" v="7491" actId="207"/>
          <ac:spMkLst>
            <pc:docMk/>
            <pc:sldMk cId="2478982633" sldId="365"/>
            <ac:spMk id="8" creationId="{43B40C3A-80CF-34F4-8F7F-CB501336395F}"/>
          </ac:spMkLst>
        </pc:spChg>
        <pc:spChg chg="add mod">
          <ac:chgData name="Philipp Forster" userId="b742aaf2-8a0f-4ee3-b486-82a1d0a06832" providerId="ADAL" clId="{49FDA4E2-BEE0-4614-B6DC-4CFB0F75C955}" dt="2023-03-12T10:40:53.754" v="7491" actId="207"/>
          <ac:spMkLst>
            <pc:docMk/>
            <pc:sldMk cId="2478982633" sldId="365"/>
            <ac:spMk id="9" creationId="{9501D7D4-5DE7-E35A-F010-5AC88039F87B}"/>
          </ac:spMkLst>
        </pc:spChg>
        <pc:spChg chg="add mod">
          <ac:chgData name="Philipp Forster" userId="b742aaf2-8a0f-4ee3-b486-82a1d0a06832" providerId="ADAL" clId="{49FDA4E2-BEE0-4614-B6DC-4CFB0F75C955}" dt="2023-03-12T10:40:53.754" v="7491" actId="207"/>
          <ac:spMkLst>
            <pc:docMk/>
            <pc:sldMk cId="2478982633" sldId="365"/>
            <ac:spMk id="10" creationId="{6EA142C0-56D4-4996-EA5B-DCE0AFE109E1}"/>
          </ac:spMkLst>
        </pc:spChg>
        <pc:spChg chg="add mod">
          <ac:chgData name="Philipp Forster" userId="b742aaf2-8a0f-4ee3-b486-82a1d0a06832" providerId="ADAL" clId="{49FDA4E2-BEE0-4614-B6DC-4CFB0F75C955}" dt="2023-03-12T10:41:03.078" v="7493" actId="207"/>
          <ac:spMkLst>
            <pc:docMk/>
            <pc:sldMk cId="2478982633" sldId="365"/>
            <ac:spMk id="11" creationId="{B05ADCEC-F5CC-4873-5D68-CC56756E8F85}"/>
          </ac:spMkLst>
        </pc:spChg>
        <pc:spChg chg="add mod">
          <ac:chgData name="Philipp Forster" userId="b742aaf2-8a0f-4ee3-b486-82a1d0a06832" providerId="ADAL" clId="{49FDA4E2-BEE0-4614-B6DC-4CFB0F75C955}" dt="2023-03-12T10:40:53.754" v="7491" actId="207"/>
          <ac:spMkLst>
            <pc:docMk/>
            <pc:sldMk cId="2478982633" sldId="365"/>
            <ac:spMk id="12" creationId="{2D695721-8DEB-40F6-2926-2AB01296D574}"/>
          </ac:spMkLst>
        </pc:spChg>
        <pc:cxnChg chg="add mod">
          <ac:chgData name="Philipp Forster" userId="b742aaf2-8a0f-4ee3-b486-82a1d0a06832" providerId="ADAL" clId="{49FDA4E2-BEE0-4614-B6DC-4CFB0F75C955}" dt="2023-03-12T10:40:57.338" v="7492" actId="208"/>
          <ac:cxnSpMkLst>
            <pc:docMk/>
            <pc:sldMk cId="2478982633" sldId="365"/>
            <ac:cxnSpMk id="6" creationId="{03F46013-53DB-95BE-0DFF-AAE0C07A52DB}"/>
          </ac:cxnSpMkLst>
        </pc:cxnChg>
      </pc:sldChg>
      <pc:sldChg chg="addSp delSp modSp add mod">
        <pc:chgData name="Philipp Forster" userId="b742aaf2-8a0f-4ee3-b486-82a1d0a06832" providerId="ADAL" clId="{49FDA4E2-BEE0-4614-B6DC-4CFB0F75C955}" dt="2023-03-12T10:42:31.050" v="7529" actId="20577"/>
        <pc:sldMkLst>
          <pc:docMk/>
          <pc:sldMk cId="10180602" sldId="366"/>
        </pc:sldMkLst>
        <pc:spChg chg="mod">
          <ac:chgData name="Philipp Forster" userId="b742aaf2-8a0f-4ee3-b486-82a1d0a06832" providerId="ADAL" clId="{49FDA4E2-BEE0-4614-B6DC-4CFB0F75C955}" dt="2023-03-12T10:42:31.050" v="7529" actId="20577"/>
          <ac:spMkLst>
            <pc:docMk/>
            <pc:sldMk cId="10180602" sldId="366"/>
            <ac:spMk id="5" creationId="{726D7581-B4C8-700D-ABAD-56D1E431D2B5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7" creationId="{FB4FC6A2-E4B5-99F2-BE2E-FA5EA9DA5AF9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8" creationId="{43B40C3A-80CF-34F4-8F7F-CB501336395F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9" creationId="{9501D7D4-5DE7-E35A-F010-5AC88039F87B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10" creationId="{6EA142C0-56D4-4996-EA5B-DCE0AFE109E1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11" creationId="{B05ADCEC-F5CC-4873-5D68-CC56756E8F85}"/>
          </ac:spMkLst>
        </pc:spChg>
        <pc:spChg chg="del">
          <ac:chgData name="Philipp Forster" userId="b742aaf2-8a0f-4ee3-b486-82a1d0a06832" providerId="ADAL" clId="{49FDA4E2-BEE0-4614-B6DC-4CFB0F75C955}" dt="2023-03-12T10:41:15.320" v="7496" actId="478"/>
          <ac:spMkLst>
            <pc:docMk/>
            <pc:sldMk cId="10180602" sldId="366"/>
            <ac:spMk id="12" creationId="{2D695721-8DEB-40F6-2926-2AB01296D574}"/>
          </ac:spMkLst>
        </pc:spChg>
        <pc:spChg chg="add mod">
          <ac:chgData name="Philipp Forster" userId="b742aaf2-8a0f-4ee3-b486-82a1d0a06832" providerId="ADAL" clId="{49FDA4E2-BEE0-4614-B6DC-4CFB0F75C955}" dt="2023-03-12T10:42:21.967" v="7513" actId="207"/>
          <ac:spMkLst>
            <pc:docMk/>
            <pc:sldMk cId="10180602" sldId="366"/>
            <ac:spMk id="13" creationId="{98645257-330F-66E7-A9A9-C0A51DB04F1E}"/>
          </ac:spMkLst>
        </pc:spChg>
        <pc:spChg chg="add mod">
          <ac:chgData name="Philipp Forster" userId="b742aaf2-8a0f-4ee3-b486-82a1d0a06832" providerId="ADAL" clId="{49FDA4E2-BEE0-4614-B6DC-4CFB0F75C955}" dt="2023-03-12T10:42:18.955" v="7512" actId="207"/>
          <ac:spMkLst>
            <pc:docMk/>
            <pc:sldMk cId="10180602" sldId="366"/>
            <ac:spMk id="14" creationId="{E37B801C-3807-C943-74C4-E2F402D89946}"/>
          </ac:spMkLst>
        </pc:spChg>
        <pc:spChg chg="add mod">
          <ac:chgData name="Philipp Forster" userId="b742aaf2-8a0f-4ee3-b486-82a1d0a06832" providerId="ADAL" clId="{49FDA4E2-BEE0-4614-B6DC-4CFB0F75C955}" dt="2023-03-12T10:42:18.955" v="7512" actId="207"/>
          <ac:spMkLst>
            <pc:docMk/>
            <pc:sldMk cId="10180602" sldId="366"/>
            <ac:spMk id="15" creationId="{DEC47BF5-F301-535C-586E-C1B999641AD8}"/>
          </ac:spMkLst>
        </pc:spChg>
        <pc:spChg chg="add mod">
          <ac:chgData name="Philipp Forster" userId="b742aaf2-8a0f-4ee3-b486-82a1d0a06832" providerId="ADAL" clId="{49FDA4E2-BEE0-4614-B6DC-4CFB0F75C955}" dt="2023-03-12T10:42:18.955" v="7512" actId="207"/>
          <ac:spMkLst>
            <pc:docMk/>
            <pc:sldMk cId="10180602" sldId="366"/>
            <ac:spMk id="16" creationId="{D7CD2C64-EB54-4912-3AAE-FC1EE4AE1D32}"/>
          </ac:spMkLst>
        </pc:spChg>
        <pc:spChg chg="add mod">
          <ac:chgData name="Philipp Forster" userId="b742aaf2-8a0f-4ee3-b486-82a1d0a06832" providerId="ADAL" clId="{49FDA4E2-BEE0-4614-B6DC-4CFB0F75C955}" dt="2023-03-12T10:42:18.955" v="7512" actId="207"/>
          <ac:spMkLst>
            <pc:docMk/>
            <pc:sldMk cId="10180602" sldId="366"/>
            <ac:spMk id="17" creationId="{11952F6C-A87C-047D-45ED-31C6A91073DE}"/>
          </ac:spMkLst>
        </pc:spChg>
        <pc:spChg chg="add mod">
          <ac:chgData name="Philipp Forster" userId="b742aaf2-8a0f-4ee3-b486-82a1d0a06832" providerId="ADAL" clId="{49FDA4E2-BEE0-4614-B6DC-4CFB0F75C955}" dt="2023-03-12T10:42:18.955" v="7512" actId="207"/>
          <ac:spMkLst>
            <pc:docMk/>
            <pc:sldMk cId="10180602" sldId="366"/>
            <ac:spMk id="18" creationId="{CE4470BF-6C23-92C7-CE6D-E8BE0DDB866B}"/>
          </ac:spMkLst>
        </pc:spChg>
        <pc:cxnChg chg="add mod">
          <ac:chgData name="Philipp Forster" userId="b742aaf2-8a0f-4ee3-b486-82a1d0a06832" providerId="ADAL" clId="{49FDA4E2-BEE0-4614-B6DC-4CFB0F75C955}" dt="2023-03-12T10:42:14.580" v="7511" actId="208"/>
          <ac:cxnSpMkLst>
            <pc:docMk/>
            <pc:sldMk cId="10180602" sldId="366"/>
            <ac:cxnSpMk id="4" creationId="{CF6F4287-DB03-6278-2449-091800F8C64B}"/>
          </ac:cxnSpMkLst>
        </pc:cxnChg>
        <pc:cxnChg chg="del">
          <ac:chgData name="Philipp Forster" userId="b742aaf2-8a0f-4ee3-b486-82a1d0a06832" providerId="ADAL" clId="{49FDA4E2-BEE0-4614-B6DC-4CFB0F75C955}" dt="2023-03-12T10:41:15.320" v="7496" actId="478"/>
          <ac:cxnSpMkLst>
            <pc:docMk/>
            <pc:sldMk cId="10180602" sldId="366"/>
            <ac:cxnSpMk id="6" creationId="{03F46013-53DB-95BE-0DFF-AAE0C07A52DB}"/>
          </ac:cxnSpMkLst>
        </pc:cxnChg>
        <pc:cxnChg chg="add del mod">
          <ac:chgData name="Philipp Forster" userId="b742aaf2-8a0f-4ee3-b486-82a1d0a06832" providerId="ADAL" clId="{49FDA4E2-BEE0-4614-B6DC-4CFB0F75C955}" dt="2023-03-12T10:41:55.979" v="7507"/>
          <ac:cxnSpMkLst>
            <pc:docMk/>
            <pc:sldMk cId="10180602" sldId="366"/>
            <ac:cxnSpMk id="19" creationId="{5E5E5FB1-8437-E90D-1E06-306A50F7280B}"/>
          </ac:cxnSpMkLst>
        </pc:cxnChg>
        <pc:cxnChg chg="add del mod">
          <ac:chgData name="Philipp Forster" userId="b742aaf2-8a0f-4ee3-b486-82a1d0a06832" providerId="ADAL" clId="{49FDA4E2-BEE0-4614-B6DC-4CFB0F75C955}" dt="2023-03-12T10:42:11.401" v="7510" actId="478"/>
          <ac:cxnSpMkLst>
            <pc:docMk/>
            <pc:sldMk cId="10180602" sldId="366"/>
            <ac:cxnSpMk id="20" creationId="{6B615618-CF2F-DEE7-E781-30788D809B8E}"/>
          </ac:cxnSpMkLst>
        </pc:cxnChg>
      </pc:sldChg>
      <pc:sldChg chg="addSp delSp modSp add mod">
        <pc:chgData name="Philipp Forster" userId="b742aaf2-8a0f-4ee3-b486-82a1d0a06832" providerId="ADAL" clId="{49FDA4E2-BEE0-4614-B6DC-4CFB0F75C955}" dt="2023-03-12T10:44:10.640" v="7653" actId="20577"/>
        <pc:sldMkLst>
          <pc:docMk/>
          <pc:sldMk cId="664237425" sldId="367"/>
        </pc:sldMkLst>
        <pc:spChg chg="mod ord">
          <ac:chgData name="Philipp Forster" userId="b742aaf2-8a0f-4ee3-b486-82a1d0a06832" providerId="ADAL" clId="{49FDA4E2-BEE0-4614-B6DC-4CFB0F75C955}" dt="2023-03-12T10:43:42.019" v="7543"/>
          <ac:spMkLst>
            <pc:docMk/>
            <pc:sldMk cId="664237425" sldId="367"/>
            <ac:spMk id="2" creationId="{F3EF32DC-6E35-92A1-66FB-34A376796B1C}"/>
          </ac:spMkLst>
        </pc:spChg>
        <pc:spChg chg="mod ord">
          <ac:chgData name="Philipp Forster" userId="b742aaf2-8a0f-4ee3-b486-82a1d0a06832" providerId="ADAL" clId="{49FDA4E2-BEE0-4614-B6DC-4CFB0F75C955}" dt="2023-03-12T10:43:42.020" v="7545"/>
          <ac:spMkLst>
            <pc:docMk/>
            <pc:sldMk cId="664237425" sldId="367"/>
            <ac:spMk id="3" creationId="{CE4789BF-F242-3DDB-079F-4AB411BDEB09}"/>
          </ac:spMkLst>
        </pc:spChg>
        <pc:spChg chg="mod ord">
          <ac:chgData name="Philipp Forster" userId="b742aaf2-8a0f-4ee3-b486-82a1d0a06832" providerId="ADAL" clId="{49FDA4E2-BEE0-4614-B6DC-4CFB0F75C955}" dt="2023-03-12T10:44:10.640" v="7653" actId="20577"/>
          <ac:spMkLst>
            <pc:docMk/>
            <pc:sldMk cId="664237425" sldId="367"/>
            <ac:spMk id="5" creationId="{726D7581-B4C8-700D-ABAD-56D1E431D2B5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7" creationId="{206DC4B2-05AD-9130-013D-124619F2CE01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8" creationId="{68316E3C-245C-5D35-0B86-1C9482237196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9" creationId="{4BBC565B-8D6C-3752-75FE-27E1D27F2CA6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10" creationId="{B55B9AE7-19E8-9D19-74FD-EE278DDFD742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11" creationId="{F5E823DA-AF57-70EE-07D5-008211343D4D}"/>
          </ac:spMkLst>
        </pc:spChg>
        <pc:spChg chg="add del mod">
          <ac:chgData name="Philipp Forster" userId="b742aaf2-8a0f-4ee3-b486-82a1d0a06832" providerId="ADAL" clId="{49FDA4E2-BEE0-4614-B6DC-4CFB0F75C955}" dt="2023-03-12T10:43:25.042" v="7536" actId="478"/>
          <ac:spMkLst>
            <pc:docMk/>
            <pc:sldMk cId="664237425" sldId="367"/>
            <ac:spMk id="12" creationId="{9C0FCD40-0BF8-73A8-5FA4-1F1EFE900ABB}"/>
          </ac:spMkLst>
        </pc:spChg>
        <pc:spChg chg="del mod ord">
          <ac:chgData name="Philipp Forster" userId="b742aaf2-8a0f-4ee3-b486-82a1d0a06832" providerId="ADAL" clId="{49FDA4E2-BEE0-4614-B6DC-4CFB0F75C955}" dt="2023-03-12T10:43:45.474" v="7646" actId="478"/>
          <ac:spMkLst>
            <pc:docMk/>
            <pc:sldMk cId="664237425" sldId="367"/>
            <ac:spMk id="13" creationId="{98645257-330F-66E7-A9A9-C0A51DB04F1E}"/>
          </ac:spMkLst>
        </pc:spChg>
        <pc:spChg chg="mod ord">
          <ac:chgData name="Philipp Forster" userId="b742aaf2-8a0f-4ee3-b486-82a1d0a06832" providerId="ADAL" clId="{49FDA4E2-BEE0-4614-B6DC-4CFB0F75C955}" dt="2023-03-12T10:43:42.021" v="7551"/>
          <ac:spMkLst>
            <pc:docMk/>
            <pc:sldMk cId="664237425" sldId="367"/>
            <ac:spMk id="14" creationId="{E37B801C-3807-C943-74C4-E2F402D89946}"/>
          </ac:spMkLst>
        </pc:spChg>
        <pc:spChg chg="del mod ord">
          <ac:chgData name="Philipp Forster" userId="b742aaf2-8a0f-4ee3-b486-82a1d0a06832" providerId="ADAL" clId="{49FDA4E2-BEE0-4614-B6DC-4CFB0F75C955}" dt="2023-03-12T10:43:52.648" v="7647" actId="478"/>
          <ac:spMkLst>
            <pc:docMk/>
            <pc:sldMk cId="664237425" sldId="367"/>
            <ac:spMk id="15" creationId="{DEC47BF5-F301-535C-586E-C1B999641AD8}"/>
          </ac:spMkLst>
        </pc:spChg>
        <pc:spChg chg="mod ord">
          <ac:chgData name="Philipp Forster" userId="b742aaf2-8a0f-4ee3-b486-82a1d0a06832" providerId="ADAL" clId="{49FDA4E2-BEE0-4614-B6DC-4CFB0F75C955}" dt="2023-03-12T10:43:42.022" v="7555"/>
          <ac:spMkLst>
            <pc:docMk/>
            <pc:sldMk cId="664237425" sldId="367"/>
            <ac:spMk id="16" creationId="{D7CD2C64-EB54-4912-3AAE-FC1EE4AE1D32}"/>
          </ac:spMkLst>
        </pc:spChg>
        <pc:spChg chg="mod ord">
          <ac:chgData name="Philipp Forster" userId="b742aaf2-8a0f-4ee3-b486-82a1d0a06832" providerId="ADAL" clId="{49FDA4E2-BEE0-4614-B6DC-4CFB0F75C955}" dt="2023-03-12T10:43:42.022" v="7557"/>
          <ac:spMkLst>
            <pc:docMk/>
            <pc:sldMk cId="664237425" sldId="367"/>
            <ac:spMk id="17" creationId="{11952F6C-A87C-047D-45ED-31C6A91073DE}"/>
          </ac:spMkLst>
        </pc:spChg>
        <pc:spChg chg="mod ord">
          <ac:chgData name="Philipp Forster" userId="b742aaf2-8a0f-4ee3-b486-82a1d0a06832" providerId="ADAL" clId="{49FDA4E2-BEE0-4614-B6DC-4CFB0F75C955}" dt="2023-03-12T10:43:42.023" v="7559"/>
          <ac:spMkLst>
            <pc:docMk/>
            <pc:sldMk cId="664237425" sldId="367"/>
            <ac:spMk id="18" creationId="{CE4470BF-6C23-92C7-CE6D-E8BE0DDB866B}"/>
          </ac:spMkLst>
        </pc:spChg>
        <pc:spChg chg="add mod ord">
          <ac:chgData name="Philipp Forster" userId="b742aaf2-8a0f-4ee3-b486-82a1d0a06832" providerId="ADAL" clId="{49FDA4E2-BEE0-4614-B6DC-4CFB0F75C955}" dt="2023-03-12T10:44:01.776" v="7650" actId="207"/>
          <ac:spMkLst>
            <pc:docMk/>
            <pc:sldMk cId="664237425" sldId="367"/>
            <ac:spMk id="20" creationId="{C02B92E5-8BAE-B505-F165-A35647C064E7}"/>
          </ac:spMkLst>
        </pc:spChg>
        <pc:spChg chg="add mod ord">
          <ac:chgData name="Philipp Forster" userId="b742aaf2-8a0f-4ee3-b486-82a1d0a06832" providerId="ADAL" clId="{49FDA4E2-BEE0-4614-B6DC-4CFB0F75C955}" dt="2023-03-12T10:43:56.092" v="7648" actId="207"/>
          <ac:spMkLst>
            <pc:docMk/>
            <pc:sldMk cId="664237425" sldId="367"/>
            <ac:spMk id="21" creationId="{78EF1982-50A2-49DF-51BD-69B310F39667}"/>
          </ac:spMkLst>
        </pc:spChg>
        <pc:graphicFrameChg chg="add mod ord modVis replST">
          <ac:chgData name="Philipp Forster" userId="b742aaf2-8a0f-4ee3-b486-82a1d0a06832" providerId="ADAL" clId="{49FDA4E2-BEE0-4614-B6DC-4CFB0F75C955}" dt="2023-03-12T10:43:42.059" v="7581"/>
          <ac:graphicFrameMkLst>
            <pc:docMk/>
            <pc:sldMk cId="664237425" sldId="367"/>
            <ac:graphicFrameMk id="22" creationId="{2FB8FD08-4195-35A5-6B25-C02C7E305C7F}"/>
          </ac:graphicFrameMkLst>
        </pc:graphicFrameChg>
        <pc:cxnChg chg="del">
          <ac:chgData name="Philipp Forster" userId="b742aaf2-8a0f-4ee3-b486-82a1d0a06832" providerId="ADAL" clId="{49FDA4E2-BEE0-4614-B6DC-4CFB0F75C955}" dt="2023-03-12T10:43:39.257" v="7539" actId="478"/>
          <ac:cxnSpMkLst>
            <pc:docMk/>
            <pc:sldMk cId="664237425" sldId="367"/>
            <ac:cxnSpMk id="4" creationId="{CF6F4287-DB03-6278-2449-091800F8C64B}"/>
          </ac:cxnSpMkLst>
        </pc:cxnChg>
        <pc:cxnChg chg="add del mod">
          <ac:chgData name="Philipp Forster" userId="b742aaf2-8a0f-4ee3-b486-82a1d0a06832" providerId="ADAL" clId="{49FDA4E2-BEE0-4614-B6DC-4CFB0F75C955}" dt="2023-03-12T10:43:25.042" v="7536" actId="478"/>
          <ac:cxnSpMkLst>
            <pc:docMk/>
            <pc:sldMk cId="664237425" sldId="367"/>
            <ac:cxnSpMk id="6" creationId="{10AEAA68-1DA1-2531-243F-13FF0146DC56}"/>
          </ac:cxnSpMkLst>
        </pc:cxnChg>
        <pc:cxnChg chg="add mod ord">
          <ac:chgData name="Philipp Forster" userId="b742aaf2-8a0f-4ee3-b486-82a1d0a06832" providerId="ADAL" clId="{49FDA4E2-BEE0-4614-B6DC-4CFB0F75C955}" dt="2023-03-12T10:43:58.276" v="7649" actId="208"/>
          <ac:cxnSpMkLst>
            <pc:docMk/>
            <pc:sldMk cId="664237425" sldId="367"/>
            <ac:cxnSpMk id="19" creationId="{917ECB15-E7E8-267D-4D0C-BB45D4CA9E25}"/>
          </ac:cxnSpMkLst>
        </pc:cxnChg>
      </pc:sldChg>
      <pc:sldChg chg="addSp delSp modSp add mod">
        <pc:chgData name="Philipp Forster" userId="b742aaf2-8a0f-4ee3-b486-82a1d0a06832" providerId="ADAL" clId="{49FDA4E2-BEE0-4614-B6DC-4CFB0F75C955}" dt="2023-03-12T10:45:24.610" v="7713" actId="20577"/>
        <pc:sldMkLst>
          <pc:docMk/>
          <pc:sldMk cId="458505242" sldId="368"/>
        </pc:sldMkLst>
        <pc:spChg chg="mod ord">
          <ac:chgData name="Philipp Forster" userId="b742aaf2-8a0f-4ee3-b486-82a1d0a06832" providerId="ADAL" clId="{49FDA4E2-BEE0-4614-B6DC-4CFB0F75C955}" dt="2023-03-12T10:44:44.729" v="7667"/>
          <ac:spMkLst>
            <pc:docMk/>
            <pc:sldMk cId="458505242" sldId="368"/>
            <ac:spMk id="2" creationId="{F3EF32DC-6E35-92A1-66FB-34A376796B1C}"/>
          </ac:spMkLst>
        </pc:spChg>
        <pc:spChg chg="mod ord">
          <ac:chgData name="Philipp Forster" userId="b742aaf2-8a0f-4ee3-b486-82a1d0a06832" providerId="ADAL" clId="{49FDA4E2-BEE0-4614-B6DC-4CFB0F75C955}" dt="2023-03-12T10:44:44.730" v="7669"/>
          <ac:spMkLst>
            <pc:docMk/>
            <pc:sldMk cId="458505242" sldId="368"/>
            <ac:spMk id="3" creationId="{CE4789BF-F242-3DDB-079F-4AB411BDEB09}"/>
          </ac:spMkLst>
        </pc:spChg>
        <pc:spChg chg="mod ord">
          <ac:chgData name="Philipp Forster" userId="b742aaf2-8a0f-4ee3-b486-82a1d0a06832" providerId="ADAL" clId="{49FDA4E2-BEE0-4614-B6DC-4CFB0F75C955}" dt="2023-03-12T10:45:24.610" v="7713" actId="20577"/>
          <ac:spMkLst>
            <pc:docMk/>
            <pc:sldMk cId="458505242" sldId="368"/>
            <ac:spMk id="5" creationId="{726D7581-B4C8-700D-ABAD-56D1E431D2B5}"/>
          </ac:spMkLst>
        </pc:spChg>
        <pc:spChg chg="add mod ord">
          <ac:chgData name="Philipp Forster" userId="b742aaf2-8a0f-4ee3-b486-82a1d0a06832" providerId="ADAL" clId="{49FDA4E2-BEE0-4614-B6DC-4CFB0F75C955}" dt="2023-03-12T10:45:01.263" v="7693" actId="207"/>
          <ac:spMkLst>
            <pc:docMk/>
            <pc:sldMk cId="458505242" sldId="368"/>
            <ac:spMk id="6" creationId="{80CD876C-C35E-5105-C1BE-CB89B8DADA6B}"/>
          </ac:spMkLst>
        </pc:spChg>
        <pc:spChg chg="add mod ord">
          <ac:chgData name="Philipp Forster" userId="b742aaf2-8a0f-4ee3-b486-82a1d0a06832" providerId="ADAL" clId="{49FDA4E2-BEE0-4614-B6DC-4CFB0F75C955}" dt="2023-03-12T10:44:54.808" v="7691" actId="207"/>
          <ac:spMkLst>
            <pc:docMk/>
            <pc:sldMk cId="458505242" sldId="368"/>
            <ac:spMk id="7" creationId="{6406C609-AFE0-3725-B589-F455B1ACC7BC}"/>
          </ac:spMkLst>
        </pc:spChg>
        <pc:spChg chg="mod ord">
          <ac:chgData name="Philipp Forster" userId="b742aaf2-8a0f-4ee3-b486-82a1d0a06832" providerId="ADAL" clId="{49FDA4E2-BEE0-4614-B6DC-4CFB0F75C955}" dt="2023-03-12T10:44:44.731" v="7673"/>
          <ac:spMkLst>
            <pc:docMk/>
            <pc:sldMk cId="458505242" sldId="368"/>
            <ac:spMk id="14" creationId="{E37B801C-3807-C943-74C4-E2F402D89946}"/>
          </ac:spMkLst>
        </pc:spChg>
        <pc:spChg chg="del mod ord">
          <ac:chgData name="Philipp Forster" userId="b742aaf2-8a0f-4ee3-b486-82a1d0a06832" providerId="ADAL" clId="{49FDA4E2-BEE0-4614-B6DC-4CFB0F75C955}" dt="2023-03-12T10:44:46.801" v="7688" actId="478"/>
          <ac:spMkLst>
            <pc:docMk/>
            <pc:sldMk cId="458505242" sldId="368"/>
            <ac:spMk id="16" creationId="{D7CD2C64-EB54-4912-3AAE-FC1EE4AE1D32}"/>
          </ac:spMkLst>
        </pc:spChg>
        <pc:spChg chg="mod ord">
          <ac:chgData name="Philipp Forster" userId="b742aaf2-8a0f-4ee3-b486-82a1d0a06832" providerId="ADAL" clId="{49FDA4E2-BEE0-4614-B6DC-4CFB0F75C955}" dt="2023-03-12T10:44:44.732" v="7677"/>
          <ac:spMkLst>
            <pc:docMk/>
            <pc:sldMk cId="458505242" sldId="368"/>
            <ac:spMk id="17" creationId="{11952F6C-A87C-047D-45ED-31C6A91073DE}"/>
          </ac:spMkLst>
        </pc:spChg>
        <pc:spChg chg="mod ord">
          <ac:chgData name="Philipp Forster" userId="b742aaf2-8a0f-4ee3-b486-82a1d0a06832" providerId="ADAL" clId="{49FDA4E2-BEE0-4614-B6DC-4CFB0F75C955}" dt="2023-03-12T10:44:44.732" v="7679"/>
          <ac:spMkLst>
            <pc:docMk/>
            <pc:sldMk cId="458505242" sldId="368"/>
            <ac:spMk id="18" creationId="{CE4470BF-6C23-92C7-CE6D-E8BE0DDB866B}"/>
          </ac:spMkLst>
        </pc:spChg>
        <pc:spChg chg="del mod ord">
          <ac:chgData name="Philipp Forster" userId="b742aaf2-8a0f-4ee3-b486-82a1d0a06832" providerId="ADAL" clId="{49FDA4E2-BEE0-4614-B6DC-4CFB0F75C955}" dt="2023-03-12T10:44:52.078" v="7690" actId="478"/>
          <ac:spMkLst>
            <pc:docMk/>
            <pc:sldMk cId="458505242" sldId="368"/>
            <ac:spMk id="20" creationId="{C02B92E5-8BAE-B505-F165-A35647C064E7}"/>
          </ac:spMkLst>
        </pc:spChg>
        <pc:spChg chg="mod ord">
          <ac:chgData name="Philipp Forster" userId="b742aaf2-8a0f-4ee3-b486-82a1d0a06832" providerId="ADAL" clId="{49FDA4E2-BEE0-4614-B6DC-4CFB0F75C955}" dt="2023-03-12T10:44:44.733" v="7683"/>
          <ac:spMkLst>
            <pc:docMk/>
            <pc:sldMk cId="458505242" sldId="368"/>
            <ac:spMk id="21" creationId="{78EF1982-50A2-49DF-51BD-69B310F39667}"/>
          </ac:spMkLst>
        </pc:spChg>
        <pc:graphicFrameChg chg="mod">
          <ac:chgData name="Philipp Forster" userId="b742aaf2-8a0f-4ee3-b486-82a1d0a06832" providerId="ADAL" clId="{49FDA4E2-BEE0-4614-B6DC-4CFB0F75C955}" dt="2023-03-12T10:44:44.735" v="7687"/>
          <ac:graphicFrameMkLst>
            <pc:docMk/>
            <pc:sldMk cId="458505242" sldId="368"/>
            <ac:graphicFrameMk id="22" creationId="{2FB8FD08-4195-35A5-6B25-C02C7E305C7F}"/>
          </ac:graphicFrameMkLst>
        </pc:graphicFrameChg>
        <pc:cxnChg chg="add mod ord">
          <ac:chgData name="Philipp Forster" userId="b742aaf2-8a0f-4ee3-b486-82a1d0a06832" providerId="ADAL" clId="{49FDA4E2-BEE0-4614-B6DC-4CFB0F75C955}" dt="2023-03-12T10:44:58.577" v="7692" actId="208"/>
          <ac:cxnSpMkLst>
            <pc:docMk/>
            <pc:sldMk cId="458505242" sldId="368"/>
            <ac:cxnSpMk id="4" creationId="{6DFC477E-547B-B146-13E0-DED01B91E036}"/>
          </ac:cxnSpMkLst>
        </pc:cxnChg>
        <pc:cxnChg chg="del mod ord">
          <ac:chgData name="Philipp Forster" userId="b742aaf2-8a0f-4ee3-b486-82a1d0a06832" providerId="ADAL" clId="{49FDA4E2-BEE0-4614-B6DC-4CFB0F75C955}" dt="2023-03-12T10:44:48.738" v="7689" actId="478"/>
          <ac:cxnSpMkLst>
            <pc:docMk/>
            <pc:sldMk cId="458505242" sldId="368"/>
            <ac:cxnSpMk id="19" creationId="{917ECB15-E7E8-267D-4D0C-BB45D4CA9E25}"/>
          </ac:cxnSpMkLst>
        </pc:cxnChg>
      </pc:sldChg>
      <pc:sldChg chg="addSp delSp modSp add mod">
        <pc:chgData name="Philipp Forster" userId="b742aaf2-8a0f-4ee3-b486-82a1d0a06832" providerId="ADAL" clId="{49FDA4E2-BEE0-4614-B6DC-4CFB0F75C955}" dt="2023-03-12T10:46:13.706" v="7769" actId="20577"/>
        <pc:sldMkLst>
          <pc:docMk/>
          <pc:sldMk cId="118829625" sldId="369"/>
        </pc:sldMkLst>
        <pc:spChg chg="mod ord">
          <ac:chgData name="Philipp Forster" userId="b742aaf2-8a0f-4ee3-b486-82a1d0a06832" providerId="ADAL" clId="{49FDA4E2-BEE0-4614-B6DC-4CFB0F75C955}" dt="2023-03-12T10:45:45.404" v="7731"/>
          <ac:spMkLst>
            <pc:docMk/>
            <pc:sldMk cId="118829625" sldId="369"/>
            <ac:spMk id="2" creationId="{F3EF32DC-6E35-92A1-66FB-34A376796B1C}"/>
          </ac:spMkLst>
        </pc:spChg>
        <pc:spChg chg="mod ord">
          <ac:chgData name="Philipp Forster" userId="b742aaf2-8a0f-4ee3-b486-82a1d0a06832" providerId="ADAL" clId="{49FDA4E2-BEE0-4614-B6DC-4CFB0F75C955}" dt="2023-03-12T10:45:45.405" v="7733"/>
          <ac:spMkLst>
            <pc:docMk/>
            <pc:sldMk cId="118829625" sldId="369"/>
            <ac:spMk id="3" creationId="{CE4789BF-F242-3DDB-079F-4AB411BDEB09}"/>
          </ac:spMkLst>
        </pc:spChg>
        <pc:spChg chg="mod ord">
          <ac:chgData name="Philipp Forster" userId="b742aaf2-8a0f-4ee3-b486-82a1d0a06832" providerId="ADAL" clId="{49FDA4E2-BEE0-4614-B6DC-4CFB0F75C955}" dt="2023-03-12T10:46:13.706" v="7769" actId="20577"/>
          <ac:spMkLst>
            <pc:docMk/>
            <pc:sldMk cId="118829625" sldId="369"/>
            <ac:spMk id="5" creationId="{726D7581-B4C8-700D-ABAD-56D1E431D2B5}"/>
          </ac:spMkLst>
        </pc:spChg>
        <pc:spChg chg="del mod ord">
          <ac:chgData name="Philipp Forster" userId="b742aaf2-8a0f-4ee3-b486-82a1d0a06832" providerId="ADAL" clId="{49FDA4E2-BEE0-4614-B6DC-4CFB0F75C955}" dt="2023-03-12T10:45:48.664" v="7748" actId="478"/>
          <ac:spMkLst>
            <pc:docMk/>
            <pc:sldMk cId="118829625" sldId="369"/>
            <ac:spMk id="6" creationId="{80CD876C-C35E-5105-C1BE-CB89B8DADA6B}"/>
          </ac:spMkLst>
        </pc:spChg>
        <pc:spChg chg="mod ord">
          <ac:chgData name="Philipp Forster" userId="b742aaf2-8a0f-4ee3-b486-82a1d0a06832" providerId="ADAL" clId="{49FDA4E2-BEE0-4614-B6DC-4CFB0F75C955}" dt="2023-03-12T10:45:45.404" v="7729"/>
          <ac:spMkLst>
            <pc:docMk/>
            <pc:sldMk cId="118829625" sldId="369"/>
            <ac:spMk id="7" creationId="{6406C609-AFE0-3725-B589-F455B1ACC7BC}"/>
          </ac:spMkLst>
        </pc:spChg>
        <pc:spChg chg="add mod ord">
          <ac:chgData name="Philipp Forster" userId="b742aaf2-8a0f-4ee3-b486-82a1d0a06832" providerId="ADAL" clId="{49FDA4E2-BEE0-4614-B6DC-4CFB0F75C955}" dt="2023-03-12T10:46:03.306" v="7755" actId="207"/>
          <ac:spMkLst>
            <pc:docMk/>
            <pc:sldMk cId="118829625" sldId="369"/>
            <ac:spMk id="9" creationId="{2E4483CF-1C36-BED1-5984-7B1F07FB2923}"/>
          </ac:spMkLst>
        </pc:spChg>
        <pc:spChg chg="add mod ord">
          <ac:chgData name="Philipp Forster" userId="b742aaf2-8a0f-4ee3-b486-82a1d0a06832" providerId="ADAL" clId="{49FDA4E2-BEE0-4614-B6DC-4CFB0F75C955}" dt="2023-03-12T10:45:57.414" v="7753" actId="207"/>
          <ac:spMkLst>
            <pc:docMk/>
            <pc:sldMk cId="118829625" sldId="369"/>
            <ac:spMk id="10" creationId="{B69BF08C-9DAB-9A9E-98D2-75546FDDC2CB}"/>
          </ac:spMkLst>
        </pc:spChg>
        <pc:spChg chg="mod ord">
          <ac:chgData name="Philipp Forster" userId="b742aaf2-8a0f-4ee3-b486-82a1d0a06832" providerId="ADAL" clId="{49FDA4E2-BEE0-4614-B6DC-4CFB0F75C955}" dt="2023-03-12T10:45:45.405" v="7737"/>
          <ac:spMkLst>
            <pc:docMk/>
            <pc:sldMk cId="118829625" sldId="369"/>
            <ac:spMk id="14" creationId="{E37B801C-3807-C943-74C4-E2F402D89946}"/>
          </ac:spMkLst>
        </pc:spChg>
        <pc:spChg chg="del mod ord">
          <ac:chgData name="Philipp Forster" userId="b742aaf2-8a0f-4ee3-b486-82a1d0a06832" providerId="ADAL" clId="{49FDA4E2-BEE0-4614-B6DC-4CFB0F75C955}" dt="2023-03-12T10:45:53.659" v="7752" actId="478"/>
          <ac:spMkLst>
            <pc:docMk/>
            <pc:sldMk cId="118829625" sldId="369"/>
            <ac:spMk id="17" creationId="{11952F6C-A87C-047D-45ED-31C6A91073DE}"/>
          </ac:spMkLst>
        </pc:spChg>
        <pc:spChg chg="mod ord">
          <ac:chgData name="Philipp Forster" userId="b742aaf2-8a0f-4ee3-b486-82a1d0a06832" providerId="ADAL" clId="{49FDA4E2-BEE0-4614-B6DC-4CFB0F75C955}" dt="2023-03-12T10:45:45.406" v="7741"/>
          <ac:spMkLst>
            <pc:docMk/>
            <pc:sldMk cId="118829625" sldId="369"/>
            <ac:spMk id="18" creationId="{CE4470BF-6C23-92C7-CE6D-E8BE0DDB866B}"/>
          </ac:spMkLst>
        </pc:spChg>
        <pc:spChg chg="mod ord">
          <ac:chgData name="Philipp Forster" userId="b742aaf2-8a0f-4ee3-b486-82a1d0a06832" providerId="ADAL" clId="{49FDA4E2-BEE0-4614-B6DC-4CFB0F75C955}" dt="2023-03-12T10:45:45.407" v="7743"/>
          <ac:spMkLst>
            <pc:docMk/>
            <pc:sldMk cId="118829625" sldId="369"/>
            <ac:spMk id="21" creationId="{78EF1982-50A2-49DF-51BD-69B310F39667}"/>
          </ac:spMkLst>
        </pc:spChg>
        <pc:graphicFrameChg chg="mod">
          <ac:chgData name="Philipp Forster" userId="b742aaf2-8a0f-4ee3-b486-82a1d0a06832" providerId="ADAL" clId="{49FDA4E2-BEE0-4614-B6DC-4CFB0F75C955}" dt="2023-03-12T10:45:45.409" v="7747"/>
          <ac:graphicFrameMkLst>
            <pc:docMk/>
            <pc:sldMk cId="118829625" sldId="369"/>
            <ac:graphicFrameMk id="22" creationId="{2FB8FD08-4195-35A5-6B25-C02C7E305C7F}"/>
          </ac:graphicFrameMkLst>
        </pc:graphicFrameChg>
        <pc:cxnChg chg="del mod ord">
          <ac:chgData name="Philipp Forster" userId="b742aaf2-8a0f-4ee3-b486-82a1d0a06832" providerId="ADAL" clId="{49FDA4E2-BEE0-4614-B6DC-4CFB0F75C955}" dt="2023-03-12T10:45:52.890" v="7751" actId="478"/>
          <ac:cxnSpMkLst>
            <pc:docMk/>
            <pc:sldMk cId="118829625" sldId="369"/>
            <ac:cxnSpMk id="4" creationId="{6DFC477E-547B-B146-13E0-DED01B91E036}"/>
          </ac:cxnSpMkLst>
        </pc:cxnChg>
        <pc:cxnChg chg="add del mod ord">
          <ac:chgData name="Philipp Forster" userId="b742aaf2-8a0f-4ee3-b486-82a1d0a06832" providerId="ADAL" clId="{49FDA4E2-BEE0-4614-B6DC-4CFB0F75C955}" dt="2023-03-12T10:45:59.348" v="7754" actId="208"/>
          <ac:cxnSpMkLst>
            <pc:docMk/>
            <pc:sldMk cId="118829625" sldId="369"/>
            <ac:cxnSpMk id="8" creationId="{539677C9-F33A-7A96-B456-07AC35B08A52}"/>
          </ac:cxnSpMkLst>
        </pc:cxnChg>
      </pc:sldChg>
      <pc:sldChg chg="addSp delSp modSp add mod">
        <pc:chgData name="Philipp Forster" userId="b742aaf2-8a0f-4ee3-b486-82a1d0a06832" providerId="ADAL" clId="{49FDA4E2-BEE0-4614-B6DC-4CFB0F75C955}" dt="2023-03-12T10:47:26.415" v="7832" actId="20577"/>
        <pc:sldMkLst>
          <pc:docMk/>
          <pc:sldMk cId="4238625450" sldId="370"/>
        </pc:sldMkLst>
        <pc:spChg chg="mod ord">
          <ac:chgData name="Philipp Forster" userId="b742aaf2-8a0f-4ee3-b486-82a1d0a06832" providerId="ADAL" clId="{49FDA4E2-BEE0-4614-B6DC-4CFB0F75C955}" dt="2023-03-12T10:46:55.898" v="7793"/>
          <ac:spMkLst>
            <pc:docMk/>
            <pc:sldMk cId="4238625450" sldId="370"/>
            <ac:spMk id="2" creationId="{F3EF32DC-6E35-92A1-66FB-34A376796B1C}"/>
          </ac:spMkLst>
        </pc:spChg>
        <pc:spChg chg="mod ord">
          <ac:chgData name="Philipp Forster" userId="b742aaf2-8a0f-4ee3-b486-82a1d0a06832" providerId="ADAL" clId="{49FDA4E2-BEE0-4614-B6DC-4CFB0F75C955}" dt="2023-03-12T10:46:55.899" v="7795"/>
          <ac:spMkLst>
            <pc:docMk/>
            <pc:sldMk cId="4238625450" sldId="370"/>
            <ac:spMk id="3" creationId="{CE4789BF-F242-3DDB-079F-4AB411BDEB09}"/>
          </ac:spMkLst>
        </pc:spChg>
        <pc:spChg chg="mod ord">
          <ac:chgData name="Philipp Forster" userId="b742aaf2-8a0f-4ee3-b486-82a1d0a06832" providerId="ADAL" clId="{49FDA4E2-BEE0-4614-B6DC-4CFB0F75C955}" dt="2023-03-12T10:47:26.415" v="7832" actId="20577"/>
          <ac:spMkLst>
            <pc:docMk/>
            <pc:sldMk cId="4238625450" sldId="370"/>
            <ac:spMk id="5" creationId="{726D7581-B4C8-700D-ABAD-56D1E431D2B5}"/>
          </ac:spMkLst>
        </pc:spChg>
        <pc:spChg chg="add del mod">
          <ac:chgData name="Philipp Forster" userId="b742aaf2-8a0f-4ee3-b486-82a1d0a06832" providerId="ADAL" clId="{49FDA4E2-BEE0-4614-B6DC-4CFB0F75C955}" dt="2023-03-12T10:46:43.431" v="7775"/>
          <ac:spMkLst>
            <pc:docMk/>
            <pc:sldMk cId="4238625450" sldId="370"/>
            <ac:spMk id="6" creationId="{8AD64AC5-A459-E856-C344-C79288812283}"/>
          </ac:spMkLst>
        </pc:spChg>
        <pc:spChg chg="mod ord">
          <ac:chgData name="Philipp Forster" userId="b742aaf2-8a0f-4ee3-b486-82a1d0a06832" providerId="ADAL" clId="{49FDA4E2-BEE0-4614-B6DC-4CFB0F75C955}" dt="2023-03-12T10:46:55.898" v="7791"/>
          <ac:spMkLst>
            <pc:docMk/>
            <pc:sldMk cId="4238625450" sldId="370"/>
            <ac:spMk id="7" creationId="{6406C609-AFE0-3725-B589-F455B1ACC7BC}"/>
          </ac:spMkLst>
        </pc:spChg>
        <pc:spChg chg="del mod ord">
          <ac:chgData name="Philipp Forster" userId="b742aaf2-8a0f-4ee3-b486-82a1d0a06832" providerId="ADAL" clId="{49FDA4E2-BEE0-4614-B6DC-4CFB0F75C955}" dt="2023-03-12T10:47:00.309" v="7808" actId="478"/>
          <ac:spMkLst>
            <pc:docMk/>
            <pc:sldMk cId="4238625450" sldId="370"/>
            <ac:spMk id="9" creationId="{2E4483CF-1C36-BED1-5984-7B1F07FB2923}"/>
          </ac:spMkLst>
        </pc:spChg>
        <pc:spChg chg="mod ord">
          <ac:chgData name="Philipp Forster" userId="b742aaf2-8a0f-4ee3-b486-82a1d0a06832" providerId="ADAL" clId="{49FDA4E2-BEE0-4614-B6DC-4CFB0F75C955}" dt="2023-03-12T10:46:55.897" v="7789"/>
          <ac:spMkLst>
            <pc:docMk/>
            <pc:sldMk cId="4238625450" sldId="370"/>
            <ac:spMk id="10" creationId="{B69BF08C-9DAB-9A9E-98D2-75546FDDC2CB}"/>
          </ac:spMkLst>
        </pc:spChg>
        <pc:spChg chg="add mod ord">
          <ac:chgData name="Philipp Forster" userId="b742aaf2-8a0f-4ee3-b486-82a1d0a06832" providerId="ADAL" clId="{49FDA4E2-BEE0-4614-B6DC-4CFB0F75C955}" dt="2023-03-12T10:47:11.964" v="7813" actId="207"/>
          <ac:spMkLst>
            <pc:docMk/>
            <pc:sldMk cId="4238625450" sldId="370"/>
            <ac:spMk id="12" creationId="{6D4CF85E-7A01-0162-18C9-D1BD673A7265}"/>
          </ac:spMkLst>
        </pc:spChg>
        <pc:spChg chg="add mod ord">
          <ac:chgData name="Philipp Forster" userId="b742aaf2-8a0f-4ee3-b486-82a1d0a06832" providerId="ADAL" clId="{49FDA4E2-BEE0-4614-B6DC-4CFB0F75C955}" dt="2023-03-12T10:47:05.360" v="7811" actId="207"/>
          <ac:spMkLst>
            <pc:docMk/>
            <pc:sldMk cId="4238625450" sldId="370"/>
            <ac:spMk id="13" creationId="{A7B2E244-F655-5571-EDBF-0BB1500767F4}"/>
          </ac:spMkLst>
        </pc:spChg>
        <pc:spChg chg="mod ord">
          <ac:chgData name="Philipp Forster" userId="b742aaf2-8a0f-4ee3-b486-82a1d0a06832" providerId="ADAL" clId="{49FDA4E2-BEE0-4614-B6DC-4CFB0F75C955}" dt="2023-03-12T10:46:55.899" v="7799"/>
          <ac:spMkLst>
            <pc:docMk/>
            <pc:sldMk cId="4238625450" sldId="370"/>
            <ac:spMk id="14" creationId="{E37B801C-3807-C943-74C4-E2F402D89946}"/>
          </ac:spMkLst>
        </pc:spChg>
        <pc:spChg chg="del mod ord">
          <ac:chgData name="Philipp Forster" userId="b742aaf2-8a0f-4ee3-b486-82a1d0a06832" providerId="ADAL" clId="{49FDA4E2-BEE0-4614-B6DC-4CFB0F75C955}" dt="2023-03-12T10:47:03.449" v="7810" actId="478"/>
          <ac:spMkLst>
            <pc:docMk/>
            <pc:sldMk cId="4238625450" sldId="370"/>
            <ac:spMk id="18" creationId="{CE4470BF-6C23-92C7-CE6D-E8BE0DDB866B}"/>
          </ac:spMkLst>
        </pc:spChg>
        <pc:spChg chg="mod ord">
          <ac:chgData name="Philipp Forster" userId="b742aaf2-8a0f-4ee3-b486-82a1d0a06832" providerId="ADAL" clId="{49FDA4E2-BEE0-4614-B6DC-4CFB0F75C955}" dt="2023-03-12T10:46:55.900" v="7803"/>
          <ac:spMkLst>
            <pc:docMk/>
            <pc:sldMk cId="4238625450" sldId="370"/>
            <ac:spMk id="21" creationId="{78EF1982-50A2-49DF-51BD-69B310F39667}"/>
          </ac:spMkLst>
        </pc:spChg>
        <pc:graphicFrameChg chg="mod">
          <ac:chgData name="Philipp Forster" userId="b742aaf2-8a0f-4ee3-b486-82a1d0a06832" providerId="ADAL" clId="{49FDA4E2-BEE0-4614-B6DC-4CFB0F75C955}" dt="2023-03-12T10:46:55.902" v="7807"/>
          <ac:graphicFrameMkLst>
            <pc:docMk/>
            <pc:sldMk cId="4238625450" sldId="370"/>
            <ac:graphicFrameMk id="22" creationId="{2FB8FD08-4195-35A5-6B25-C02C7E305C7F}"/>
          </ac:graphicFrameMkLst>
        </pc:graphicFrameChg>
        <pc:cxnChg chg="add del mod">
          <ac:chgData name="Philipp Forster" userId="b742aaf2-8a0f-4ee3-b486-82a1d0a06832" providerId="ADAL" clId="{49FDA4E2-BEE0-4614-B6DC-4CFB0F75C955}" dt="2023-03-12T10:46:43.431" v="7775"/>
          <ac:cxnSpMkLst>
            <pc:docMk/>
            <pc:sldMk cId="4238625450" sldId="370"/>
            <ac:cxnSpMk id="4" creationId="{5C8D56A1-74BF-BE9B-FD0C-DA56FE4E8135}"/>
          </ac:cxnSpMkLst>
        </pc:cxnChg>
        <pc:cxnChg chg="del mod ord">
          <ac:chgData name="Philipp Forster" userId="b742aaf2-8a0f-4ee3-b486-82a1d0a06832" providerId="ADAL" clId="{49FDA4E2-BEE0-4614-B6DC-4CFB0F75C955}" dt="2023-03-12T10:47:01.016" v="7809" actId="478"/>
          <ac:cxnSpMkLst>
            <pc:docMk/>
            <pc:sldMk cId="4238625450" sldId="370"/>
            <ac:cxnSpMk id="8" creationId="{539677C9-F33A-7A96-B456-07AC35B08A52}"/>
          </ac:cxnSpMkLst>
        </pc:cxnChg>
        <pc:cxnChg chg="add mod ord">
          <ac:chgData name="Philipp Forster" userId="b742aaf2-8a0f-4ee3-b486-82a1d0a06832" providerId="ADAL" clId="{49FDA4E2-BEE0-4614-B6DC-4CFB0F75C955}" dt="2023-03-12T10:47:07.142" v="7812" actId="208"/>
          <ac:cxnSpMkLst>
            <pc:docMk/>
            <pc:sldMk cId="4238625450" sldId="370"/>
            <ac:cxnSpMk id="11" creationId="{6189B68D-8354-0DC3-30C4-6B0B6065C14A}"/>
          </ac:cxnSpMkLst>
        </pc:cxnChg>
      </pc:sldChg>
      <pc:sldMasterChg chg="addSp modSp mod">
        <pc:chgData name="Philipp Forster" userId="b742aaf2-8a0f-4ee3-b486-82a1d0a06832" providerId="ADAL" clId="{49FDA4E2-BEE0-4614-B6DC-4CFB0F75C955}" dt="2023-03-12T10:43:42.179" v="7645"/>
        <pc:sldMasterMkLst>
          <pc:docMk/>
          <pc:sldMasterMk cId="0" sldId="2147483713"/>
        </pc:sldMasterMkLst>
        <pc:graphicFrameChg chg="add mod ord modVis replST">
          <ac:chgData name="Philipp Forster" userId="b742aaf2-8a0f-4ee3-b486-82a1d0a06832" providerId="ADAL" clId="{49FDA4E2-BEE0-4614-B6DC-4CFB0F75C955}" dt="2023-03-12T10:43:42.179" v="7645"/>
          <ac:graphicFrameMkLst>
            <pc:docMk/>
            <pc:sldMasterMk cId="0" sldId="2147483713"/>
            <ac:graphicFrameMk id="2" creationId="{2A7372E9-148C-090E-D75D-95327E2A1507}"/>
          </ac:graphicFrameMkLst>
        </pc:graphicFrameChg>
      </pc:sldMasterChg>
      <pc:sldMasterChg chg="addSp modSp mod">
        <pc:chgData name="Philipp Forster" userId="b742aaf2-8a0f-4ee3-b486-82a1d0a06832" providerId="ADAL" clId="{49FDA4E2-BEE0-4614-B6DC-4CFB0F75C955}" dt="2023-03-12T10:43:42.136" v="7629"/>
        <pc:sldMasterMkLst>
          <pc:docMk/>
          <pc:sldMasterMk cId="1880405088" sldId="2147483800"/>
        </pc:sldMasterMkLst>
        <pc:graphicFrameChg chg="add mod ord modVis replST">
          <ac:chgData name="Philipp Forster" userId="b742aaf2-8a0f-4ee3-b486-82a1d0a06832" providerId="ADAL" clId="{49FDA4E2-BEE0-4614-B6DC-4CFB0F75C955}" dt="2023-03-12T10:43:42.136" v="7629"/>
          <ac:graphicFrameMkLst>
            <pc:docMk/>
            <pc:sldMasterMk cId="1880405088" sldId="2147483800"/>
            <ac:graphicFrameMk id="2" creationId="{D8C70DAF-1AEC-1175-9A07-248FFA1CFA2E}"/>
          </ac:graphicFrameMkLst>
        </pc:graphicFrameChg>
      </pc:sldMasterChg>
      <pc:sldMasterChg chg="addSp modSp mod">
        <pc:chgData name="Philipp Forster" userId="b742aaf2-8a0f-4ee3-b486-82a1d0a06832" providerId="ADAL" clId="{49FDA4E2-BEE0-4614-B6DC-4CFB0F75C955}" dt="2023-03-12T10:43:42.085" v="7597"/>
        <pc:sldMasterMkLst>
          <pc:docMk/>
          <pc:sldMasterMk cId="3289602679" sldId="2147483820"/>
        </pc:sldMasterMkLst>
        <pc:graphicFrameChg chg="add mod ord modVis replST">
          <ac:chgData name="Philipp Forster" userId="b742aaf2-8a0f-4ee3-b486-82a1d0a06832" providerId="ADAL" clId="{49FDA4E2-BEE0-4614-B6DC-4CFB0F75C955}" dt="2023-03-12T10:43:42.085" v="7597"/>
          <ac:graphicFrameMkLst>
            <pc:docMk/>
            <pc:sldMasterMk cId="3289602679" sldId="2147483820"/>
            <ac:graphicFrameMk id="2" creationId="{E74116ED-0E66-FBCA-EDBC-05397DEB4CD6}"/>
          </ac:graphicFrameMkLst>
        </pc:graphicFrameChg>
      </pc:sldMasterChg>
      <pc:sldMasterChg chg="addSp modSp mod">
        <pc:chgData name="Philipp Forster" userId="b742aaf2-8a0f-4ee3-b486-82a1d0a06832" providerId="ADAL" clId="{49FDA4E2-BEE0-4614-B6DC-4CFB0F75C955}" dt="2023-03-12T10:43:42.109" v="7613"/>
        <pc:sldMasterMkLst>
          <pc:docMk/>
          <pc:sldMasterMk cId="713639796" sldId="2147483821"/>
        </pc:sldMasterMkLst>
        <pc:graphicFrameChg chg="add mod ord modVis replST">
          <ac:chgData name="Philipp Forster" userId="b742aaf2-8a0f-4ee3-b486-82a1d0a06832" providerId="ADAL" clId="{49FDA4E2-BEE0-4614-B6DC-4CFB0F75C955}" dt="2023-03-12T10:43:42.109" v="7613"/>
          <ac:graphicFrameMkLst>
            <pc:docMk/>
            <pc:sldMasterMk cId="713639796" sldId="2147483821"/>
            <ac:graphicFrameMk id="2" creationId="{B6A20A7B-E9C5-08D9-6754-EC0FE3A9BB35}"/>
          </ac:graphicFrameMkLst>
        </pc:graphicFrameChg>
      </pc:sldMasterChg>
    </pc:docChg>
  </pc:docChgLst>
  <pc:docChgLst>
    <pc:chgData name="Stephanie Hammon" userId="2400f311-ffb8-4e42-955a-d9f87b6496df" providerId="ADAL" clId="{60214E0C-9560-4ACF-BEB1-A87B1F0FE2BF}"/>
    <pc:docChg chg="undo redo custSel addSld delSld modSld sldOrd addSection modSection">
      <pc:chgData name="Stephanie Hammon" userId="2400f311-ffb8-4e42-955a-d9f87b6496df" providerId="ADAL" clId="{60214E0C-9560-4ACF-BEB1-A87B1F0FE2BF}" dt="2023-11-13T08:16:36.045" v="12216" actId="20577"/>
      <pc:docMkLst>
        <pc:docMk/>
      </pc:docMkLst>
      <pc:sldChg chg="modSp mod">
        <pc:chgData name="Stephanie Hammon" userId="2400f311-ffb8-4e42-955a-d9f87b6496df" providerId="ADAL" clId="{60214E0C-9560-4ACF-BEB1-A87B1F0FE2BF}" dt="2023-11-12T16:08:59.792" v="13" actId="20577"/>
        <pc:sldMkLst>
          <pc:docMk/>
          <pc:sldMk cId="2159693196" sldId="292"/>
        </pc:sldMkLst>
        <pc:spChg chg="mod">
          <ac:chgData name="Stephanie Hammon" userId="2400f311-ffb8-4e42-955a-d9f87b6496df" providerId="ADAL" clId="{60214E0C-9560-4ACF-BEB1-A87B1F0FE2BF}" dt="2023-11-12T16:08:59.792" v="13" actId="20577"/>
          <ac:spMkLst>
            <pc:docMk/>
            <pc:sldMk cId="2159693196" sldId="292"/>
            <ac:spMk id="3" creationId="{41F32CBF-83F0-A346-A6C2-A2E5182E6162}"/>
          </ac:spMkLst>
        </pc:spChg>
      </pc:sldChg>
      <pc:sldChg chg="del">
        <pc:chgData name="Stephanie Hammon" userId="2400f311-ffb8-4e42-955a-d9f87b6496df" providerId="ADAL" clId="{60214E0C-9560-4ACF-BEB1-A87B1F0FE2BF}" dt="2023-11-12T17:56:33.297" v="3977" actId="2696"/>
        <pc:sldMkLst>
          <pc:docMk/>
          <pc:sldMk cId="3853640791" sldId="320"/>
        </pc:sldMkLst>
      </pc:sldChg>
      <pc:sldChg chg="modSp del mod">
        <pc:chgData name="Stephanie Hammon" userId="2400f311-ffb8-4e42-955a-d9f87b6496df" providerId="ADAL" clId="{60214E0C-9560-4ACF-BEB1-A87B1F0FE2BF}" dt="2023-11-12T16:46:14.089" v="1552" actId="2696"/>
        <pc:sldMkLst>
          <pc:docMk/>
          <pc:sldMk cId="1172277014" sldId="327"/>
        </pc:sldMkLst>
        <pc:spChg chg="mod">
          <ac:chgData name="Stephanie Hammon" userId="2400f311-ffb8-4e42-955a-d9f87b6496df" providerId="ADAL" clId="{60214E0C-9560-4ACF-BEB1-A87B1F0FE2BF}" dt="2023-11-12T16:40:05.145" v="1551" actId="403"/>
          <ac:spMkLst>
            <pc:docMk/>
            <pc:sldMk cId="1172277014" sldId="327"/>
            <ac:spMk id="2" creationId="{6E1811A0-B06E-A546-A365-5D01F64B0AF6}"/>
          </ac:spMkLst>
        </pc:spChg>
        <pc:picChg chg="mod">
          <ac:chgData name="Stephanie Hammon" userId="2400f311-ffb8-4e42-955a-d9f87b6496df" providerId="ADAL" clId="{60214E0C-9560-4ACF-BEB1-A87B1F0FE2BF}" dt="2023-11-12T16:33:38.226" v="1197" actId="1076"/>
          <ac:picMkLst>
            <pc:docMk/>
            <pc:sldMk cId="1172277014" sldId="327"/>
            <ac:picMk id="8" creationId="{283CC606-82E1-D41D-C843-905AE6510B5D}"/>
          </ac:picMkLst>
        </pc:picChg>
      </pc:sldChg>
      <pc:sldChg chg="modSp add mod ord">
        <pc:chgData name="Stephanie Hammon" userId="2400f311-ffb8-4e42-955a-d9f87b6496df" providerId="ADAL" clId="{60214E0C-9560-4ACF-BEB1-A87B1F0FE2BF}" dt="2023-11-12T20:35:00.170" v="8786" actId="1076"/>
        <pc:sldMkLst>
          <pc:docMk/>
          <pc:sldMk cId="3271940812" sldId="327"/>
        </pc:sldMkLst>
        <pc:spChg chg="mod">
          <ac:chgData name="Stephanie Hammon" userId="2400f311-ffb8-4e42-955a-d9f87b6496df" providerId="ADAL" clId="{60214E0C-9560-4ACF-BEB1-A87B1F0FE2BF}" dt="2023-11-12T20:35:00.170" v="8786" actId="1076"/>
          <ac:spMkLst>
            <pc:docMk/>
            <pc:sldMk cId="3271940812" sldId="327"/>
            <ac:spMk id="2" creationId="{6E1811A0-B06E-A546-A365-5D01F64B0AF6}"/>
          </ac:spMkLst>
        </pc:spChg>
        <pc:spChg chg="mod">
          <ac:chgData name="Stephanie Hammon" userId="2400f311-ffb8-4e42-955a-d9f87b6496df" providerId="ADAL" clId="{60214E0C-9560-4ACF-BEB1-A87B1F0FE2BF}" dt="2023-11-12T16:46:16.328" v="1553"/>
          <ac:spMkLst>
            <pc:docMk/>
            <pc:sldMk cId="3271940812" sldId="327"/>
            <ac:spMk id="4" creationId="{623A3A34-6B46-4843-84C3-41EF00566426}"/>
          </ac:spMkLst>
        </pc:spChg>
        <pc:spChg chg="mod">
          <ac:chgData name="Stephanie Hammon" userId="2400f311-ffb8-4e42-955a-d9f87b6496df" providerId="ADAL" clId="{60214E0C-9560-4ACF-BEB1-A87B1F0FE2BF}" dt="2023-11-12T20:34:50.283" v="8784" actId="1076"/>
          <ac:spMkLst>
            <pc:docMk/>
            <pc:sldMk cId="3271940812" sldId="327"/>
            <ac:spMk id="6" creationId="{05FFE912-999F-AE4F-A9E3-BC689B79A397}"/>
          </ac:spMkLst>
        </pc:spChg>
        <pc:picChg chg="mod">
          <ac:chgData name="Stephanie Hammon" userId="2400f311-ffb8-4e42-955a-d9f87b6496df" providerId="ADAL" clId="{60214E0C-9560-4ACF-BEB1-A87B1F0FE2BF}" dt="2023-11-12T20:34:55.243" v="8785" actId="1076"/>
          <ac:picMkLst>
            <pc:docMk/>
            <pc:sldMk cId="3271940812" sldId="327"/>
            <ac:picMk id="8" creationId="{283CC606-82E1-D41D-C843-905AE6510B5D}"/>
          </ac:picMkLst>
        </pc:picChg>
      </pc:sldChg>
      <pc:sldChg chg="modSp mod">
        <pc:chgData name="Stephanie Hammon" userId="2400f311-ffb8-4e42-955a-d9f87b6496df" providerId="ADAL" clId="{60214E0C-9560-4ACF-BEB1-A87B1F0FE2BF}" dt="2023-11-13T08:16:36.045" v="12216" actId="20577"/>
        <pc:sldMkLst>
          <pc:docMk/>
          <pc:sldMk cId="3825057976" sldId="328"/>
        </pc:sldMkLst>
        <pc:graphicFrameChg chg="modGraphic">
          <ac:chgData name="Stephanie Hammon" userId="2400f311-ffb8-4e42-955a-d9f87b6496df" providerId="ADAL" clId="{60214E0C-9560-4ACF-BEB1-A87B1F0FE2BF}" dt="2023-11-13T08:16:36.045" v="12216" actId="20577"/>
          <ac:graphicFrameMkLst>
            <pc:docMk/>
            <pc:sldMk cId="3825057976" sldId="328"/>
            <ac:graphicFrameMk id="42" creationId="{734ED974-85B0-804C-A4EA-FEDFBD33257F}"/>
          </ac:graphicFrameMkLst>
        </pc:graphicFrameChg>
      </pc:sldChg>
      <pc:sldChg chg="addSp delSp modSp mod">
        <pc:chgData name="Stephanie Hammon" userId="2400f311-ffb8-4e42-955a-d9f87b6496df" providerId="ADAL" clId="{60214E0C-9560-4ACF-BEB1-A87B1F0FE2BF}" dt="2023-11-13T07:38:38.316" v="12062"/>
        <pc:sldMkLst>
          <pc:docMk/>
          <pc:sldMk cId="4194136797" sldId="337"/>
        </pc:sldMkLst>
        <pc:spChg chg="mod">
          <ac:chgData name="Stephanie Hammon" userId="2400f311-ffb8-4e42-955a-d9f87b6496df" providerId="ADAL" clId="{60214E0C-9560-4ACF-BEB1-A87B1F0FE2BF}" dt="2023-11-12T17:54:47.420" v="3963" actId="14100"/>
          <ac:spMkLst>
            <pc:docMk/>
            <pc:sldMk cId="4194136797" sldId="337"/>
            <ac:spMk id="2" creationId="{6E1811A0-B06E-A546-A365-5D01F64B0AF6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7" creationId="{2A745DA0-7876-FEBA-7E28-D73DB23F6BCD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9" creationId="{9F2EA221-E2AA-1CD1-C85E-BDF259EB873B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10" creationId="{7683614A-E6C7-8B82-0875-097AD6073C8E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11" creationId="{0ADAA4D3-D4EC-3A50-5022-EE85AE8536C7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12" creationId="{AFBB7F12-DC2E-9A7B-195E-D6524DD59A1A}"/>
          </ac:spMkLst>
        </pc:spChg>
        <pc:spChg chg="add del mod">
          <ac:chgData name="Stephanie Hammon" userId="2400f311-ffb8-4e42-955a-d9f87b6496df" providerId="ADAL" clId="{60214E0C-9560-4ACF-BEB1-A87B1F0FE2BF}" dt="2023-11-13T07:38:25.696" v="12059"/>
          <ac:spMkLst>
            <pc:docMk/>
            <pc:sldMk cId="4194136797" sldId="337"/>
            <ac:spMk id="13" creationId="{F5308192-7A01-8ECB-0080-1737FE6EF862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15" creationId="{7D6A0176-8CAD-B80F-5F6A-15D530B561C3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17" creationId="{0BBA8FB9-C8C2-E211-E3FF-1954E5E80C4C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18" creationId="{194225E8-7190-B550-1386-4146D6D339B0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19" creationId="{4AE2D641-2CDA-14A6-B63B-637DD54BD96F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20" creationId="{005C0CA1-9F14-B03F-0550-EB9EB7D75BA8}"/>
          </ac:spMkLst>
        </pc:spChg>
        <pc:spChg chg="del">
          <ac:chgData name="Stephanie Hammon" userId="2400f311-ffb8-4e42-955a-d9f87b6496df" providerId="ADAL" clId="{60214E0C-9560-4ACF-BEB1-A87B1F0FE2BF}" dt="2023-11-13T07:38:38.316" v="12062"/>
          <ac:spMkLst>
            <pc:docMk/>
            <pc:sldMk cId="4194136797" sldId="337"/>
            <ac:spMk id="21" creationId="{62D04A30-AFC5-0B6B-D784-9A731021E399}"/>
          </ac:spMkLst>
        </pc:spChg>
        <pc:picChg chg="add del mod">
          <ac:chgData name="Stephanie Hammon" userId="2400f311-ffb8-4e42-955a-d9f87b6496df" providerId="ADAL" clId="{60214E0C-9560-4ACF-BEB1-A87B1F0FE2BF}" dt="2023-11-13T07:38:25.696" v="12059"/>
          <ac:picMkLst>
            <pc:docMk/>
            <pc:sldMk cId="4194136797" sldId="337"/>
            <ac:picMk id="3" creationId="{B9032083-44CA-D8F8-F8C5-82CDB26BD35A}"/>
          </ac:picMkLst>
        </pc:picChg>
        <pc:picChg chg="add del mod">
          <ac:chgData name="Stephanie Hammon" userId="2400f311-ffb8-4e42-955a-d9f87b6496df" providerId="ADAL" clId="{60214E0C-9560-4ACF-BEB1-A87B1F0FE2BF}" dt="2023-11-13T07:38:25.696" v="12059"/>
          <ac:picMkLst>
            <pc:docMk/>
            <pc:sldMk cId="4194136797" sldId="337"/>
            <ac:picMk id="8" creationId="{0A89F7FC-4852-CFD2-943C-5619690BEEDB}"/>
          </ac:picMkLst>
        </pc:picChg>
        <pc:picChg chg="del">
          <ac:chgData name="Stephanie Hammon" userId="2400f311-ffb8-4e42-955a-d9f87b6496df" providerId="ADAL" clId="{60214E0C-9560-4ACF-BEB1-A87B1F0FE2BF}" dt="2023-11-13T07:38:38.316" v="12062"/>
          <ac:picMkLst>
            <pc:docMk/>
            <pc:sldMk cId="4194136797" sldId="337"/>
            <ac:picMk id="14" creationId="{399D9630-4E8A-1CB3-A4C3-DE15F7F94F4A}"/>
          </ac:picMkLst>
        </pc:picChg>
        <pc:picChg chg="del">
          <ac:chgData name="Stephanie Hammon" userId="2400f311-ffb8-4e42-955a-d9f87b6496df" providerId="ADAL" clId="{60214E0C-9560-4ACF-BEB1-A87B1F0FE2BF}" dt="2023-11-13T07:38:38.316" v="12062"/>
          <ac:picMkLst>
            <pc:docMk/>
            <pc:sldMk cId="4194136797" sldId="337"/>
            <ac:picMk id="16" creationId="{0A0BEB9D-AD5A-90CC-E9F7-C9A72731C31E}"/>
          </ac:picMkLst>
        </pc:picChg>
      </pc:sldChg>
      <pc:sldChg chg="modSp mod">
        <pc:chgData name="Stephanie Hammon" userId="2400f311-ffb8-4e42-955a-d9f87b6496df" providerId="ADAL" clId="{60214E0C-9560-4ACF-BEB1-A87B1F0FE2BF}" dt="2023-11-13T08:06:59.725" v="12180" actId="1076"/>
        <pc:sldMkLst>
          <pc:docMk/>
          <pc:sldMk cId="472576734" sldId="338"/>
        </pc:sldMkLst>
        <pc:spChg chg="mod">
          <ac:chgData name="Stephanie Hammon" userId="2400f311-ffb8-4e42-955a-d9f87b6496df" providerId="ADAL" clId="{60214E0C-9560-4ACF-BEB1-A87B1F0FE2BF}" dt="2023-11-12T17:54:56.077" v="3964" actId="403"/>
          <ac:spMkLst>
            <pc:docMk/>
            <pc:sldMk cId="472576734" sldId="338"/>
            <ac:spMk id="2" creationId="{6E1811A0-B06E-A546-A365-5D01F64B0AF6}"/>
          </ac:spMkLst>
        </pc:spChg>
        <pc:picChg chg="mod">
          <ac:chgData name="Stephanie Hammon" userId="2400f311-ffb8-4e42-955a-d9f87b6496df" providerId="ADAL" clId="{60214E0C-9560-4ACF-BEB1-A87B1F0FE2BF}" dt="2023-11-13T08:06:59.725" v="12180" actId="1076"/>
          <ac:picMkLst>
            <pc:docMk/>
            <pc:sldMk cId="472576734" sldId="338"/>
            <ac:picMk id="5" creationId="{9216E116-3F1A-5C43-A770-4CD1176E9094}"/>
          </ac:picMkLst>
        </pc:picChg>
      </pc:sldChg>
      <pc:sldChg chg="modSp mod">
        <pc:chgData name="Stephanie Hammon" userId="2400f311-ffb8-4e42-955a-d9f87b6496df" providerId="ADAL" clId="{60214E0C-9560-4ACF-BEB1-A87B1F0FE2BF}" dt="2023-11-13T07:49:17.649" v="12179" actId="20577"/>
        <pc:sldMkLst>
          <pc:docMk/>
          <pc:sldMk cId="3946944765" sldId="340"/>
        </pc:sldMkLst>
        <pc:graphicFrameChg chg="mod modGraphic">
          <ac:chgData name="Stephanie Hammon" userId="2400f311-ffb8-4e42-955a-d9f87b6496df" providerId="ADAL" clId="{60214E0C-9560-4ACF-BEB1-A87B1F0FE2BF}" dt="2023-11-13T07:49:17.649" v="12179" actId="20577"/>
          <ac:graphicFrameMkLst>
            <pc:docMk/>
            <pc:sldMk cId="3946944765" sldId="340"/>
            <ac:graphicFrameMk id="16" creationId="{7A45F6A1-D0AA-5544-904D-288AB7561669}"/>
          </ac:graphicFrameMkLst>
        </pc:graphicFrameChg>
      </pc:sldChg>
      <pc:sldChg chg="addSp delSp modSp mod">
        <pc:chgData name="Stephanie Hammon" userId="2400f311-ffb8-4e42-955a-d9f87b6496df" providerId="ADAL" clId="{60214E0C-9560-4ACF-BEB1-A87B1F0FE2BF}" dt="2023-11-12T19:57:52.806" v="7823" actId="20577"/>
        <pc:sldMkLst>
          <pc:docMk/>
          <pc:sldMk cId="3694267384" sldId="344"/>
        </pc:sldMkLst>
        <pc:spChg chg="mod">
          <ac:chgData name="Stephanie Hammon" userId="2400f311-ffb8-4e42-955a-d9f87b6496df" providerId="ADAL" clId="{60214E0C-9560-4ACF-BEB1-A87B1F0FE2BF}" dt="2023-11-12T16:48:39.365" v="1561" actId="20577"/>
          <ac:spMkLst>
            <pc:docMk/>
            <pc:sldMk cId="3694267384" sldId="344"/>
            <ac:spMk id="2" creationId="{D4C43DD4-84AD-9684-92C8-53B1374287AC}"/>
          </ac:spMkLst>
        </pc:spChg>
        <pc:spChg chg="mod">
          <ac:chgData name="Stephanie Hammon" userId="2400f311-ffb8-4e42-955a-d9f87b6496df" providerId="ADAL" clId="{60214E0C-9560-4ACF-BEB1-A87B1F0FE2BF}" dt="2023-11-12T19:57:52.806" v="7823" actId="20577"/>
          <ac:spMkLst>
            <pc:docMk/>
            <pc:sldMk cId="3694267384" sldId="344"/>
            <ac:spMk id="3" creationId="{F2475919-EB90-A1DE-65A6-D13F384E083D}"/>
          </ac:spMkLst>
        </pc:spChg>
        <pc:spChg chg="del">
          <ac:chgData name="Stephanie Hammon" userId="2400f311-ffb8-4e42-955a-d9f87b6496df" providerId="ADAL" clId="{60214E0C-9560-4ACF-BEB1-A87B1F0FE2BF}" dt="2023-11-12T16:53:59.978" v="1769" actId="478"/>
          <ac:spMkLst>
            <pc:docMk/>
            <pc:sldMk cId="3694267384" sldId="344"/>
            <ac:spMk id="6" creationId="{2CD949F2-3600-9549-6B89-C98B9818B716}"/>
          </ac:spMkLst>
        </pc:spChg>
        <pc:spChg chg="del">
          <ac:chgData name="Stephanie Hammon" userId="2400f311-ffb8-4e42-955a-d9f87b6496df" providerId="ADAL" clId="{60214E0C-9560-4ACF-BEB1-A87B1F0FE2BF}" dt="2023-11-12T16:53:58.162" v="1768" actId="478"/>
          <ac:spMkLst>
            <pc:docMk/>
            <pc:sldMk cId="3694267384" sldId="344"/>
            <ac:spMk id="8" creationId="{469337E4-240A-3132-BF4A-0A1ED27F2FA1}"/>
          </ac:spMkLst>
        </pc:spChg>
        <pc:spChg chg="del">
          <ac:chgData name="Stephanie Hammon" userId="2400f311-ffb8-4e42-955a-d9f87b6496df" providerId="ADAL" clId="{60214E0C-9560-4ACF-BEB1-A87B1F0FE2BF}" dt="2023-11-12T16:54:07.825" v="1775" actId="478"/>
          <ac:spMkLst>
            <pc:docMk/>
            <pc:sldMk cId="3694267384" sldId="344"/>
            <ac:spMk id="10" creationId="{046C8056-A8E7-F10D-1B90-2E5E3D011B20}"/>
          </ac:spMkLst>
        </pc:spChg>
        <pc:spChg chg="del">
          <ac:chgData name="Stephanie Hammon" userId="2400f311-ffb8-4e42-955a-d9f87b6496df" providerId="ADAL" clId="{60214E0C-9560-4ACF-BEB1-A87B1F0FE2BF}" dt="2023-11-12T16:54:03.746" v="1772" actId="478"/>
          <ac:spMkLst>
            <pc:docMk/>
            <pc:sldMk cId="3694267384" sldId="344"/>
            <ac:spMk id="11" creationId="{FB11D28B-A4F9-C8B2-782D-D9E9D638B586}"/>
          </ac:spMkLst>
        </pc:spChg>
        <pc:spChg chg="add del mod">
          <ac:chgData name="Stephanie Hammon" userId="2400f311-ffb8-4e42-955a-d9f87b6496df" providerId="ADAL" clId="{60214E0C-9560-4ACF-BEB1-A87B1F0FE2BF}" dt="2023-11-12T17:29:54.222" v="3225"/>
          <ac:spMkLst>
            <pc:docMk/>
            <pc:sldMk cId="3694267384" sldId="344"/>
            <ac:spMk id="14" creationId="{BF1F0769-5DF5-E18C-3AC6-CFAAA32F1EDD}"/>
          </ac:spMkLst>
        </pc:spChg>
        <pc:spChg chg="add mod">
          <ac:chgData name="Stephanie Hammon" userId="2400f311-ffb8-4e42-955a-d9f87b6496df" providerId="ADAL" clId="{60214E0C-9560-4ACF-BEB1-A87B1F0FE2BF}" dt="2023-11-12T17:34:28.554" v="3491" actId="1076"/>
          <ac:spMkLst>
            <pc:docMk/>
            <pc:sldMk cId="3694267384" sldId="344"/>
            <ac:spMk id="19" creationId="{013473A8-2A56-6F2B-7D27-BB2A807A80B2}"/>
          </ac:spMkLst>
        </pc:spChg>
        <pc:picChg chg="del">
          <ac:chgData name="Stephanie Hammon" userId="2400f311-ffb8-4e42-955a-d9f87b6496df" providerId="ADAL" clId="{60214E0C-9560-4ACF-BEB1-A87B1F0FE2BF}" dt="2023-11-12T16:54:06.129" v="1774" actId="478"/>
          <ac:picMkLst>
            <pc:docMk/>
            <pc:sldMk cId="3694267384" sldId="344"/>
            <ac:picMk id="5" creationId="{6302786B-E222-9BF3-2452-96D7830BA691}"/>
          </ac:picMkLst>
        </pc:picChg>
        <pc:picChg chg="add mod">
          <ac:chgData name="Stephanie Hammon" userId="2400f311-ffb8-4e42-955a-d9f87b6496df" providerId="ADAL" clId="{60214E0C-9560-4ACF-BEB1-A87B1F0FE2BF}" dt="2023-11-12T17:34:16.331" v="3490" actId="14100"/>
          <ac:picMkLst>
            <pc:docMk/>
            <pc:sldMk cId="3694267384" sldId="344"/>
            <ac:picMk id="7" creationId="{03E9C13B-EE0A-71A5-8C5E-1B315C7F8AED}"/>
          </ac:picMkLst>
        </pc:picChg>
        <pc:picChg chg="del">
          <ac:chgData name="Stephanie Hammon" userId="2400f311-ffb8-4e42-955a-d9f87b6496df" providerId="ADAL" clId="{60214E0C-9560-4ACF-BEB1-A87B1F0FE2BF}" dt="2023-11-12T16:54:04.617" v="1773" actId="478"/>
          <ac:picMkLst>
            <pc:docMk/>
            <pc:sldMk cId="3694267384" sldId="344"/>
            <ac:picMk id="9" creationId="{ADC52776-B3CA-9011-A053-7D4DD4B96C7C}"/>
          </ac:picMkLst>
        </pc:picChg>
        <pc:picChg chg="del">
          <ac:chgData name="Stephanie Hammon" userId="2400f311-ffb8-4e42-955a-d9f87b6496df" providerId="ADAL" clId="{60214E0C-9560-4ACF-BEB1-A87B1F0FE2BF}" dt="2023-11-12T16:54:01.850" v="1771" actId="478"/>
          <ac:picMkLst>
            <pc:docMk/>
            <pc:sldMk cId="3694267384" sldId="344"/>
            <ac:picMk id="12" creationId="{3A02D8A3-A060-B659-2764-394ED8D2491D}"/>
          </ac:picMkLst>
        </pc:picChg>
        <pc:picChg chg="del">
          <ac:chgData name="Stephanie Hammon" userId="2400f311-ffb8-4e42-955a-d9f87b6496df" providerId="ADAL" clId="{60214E0C-9560-4ACF-BEB1-A87B1F0FE2BF}" dt="2023-11-12T16:54:00.784" v="1770" actId="478"/>
          <ac:picMkLst>
            <pc:docMk/>
            <pc:sldMk cId="3694267384" sldId="344"/>
            <ac:picMk id="13" creationId="{B80967D9-05A3-2831-F908-F98C66092272}"/>
          </ac:picMkLst>
        </pc:picChg>
        <pc:picChg chg="add del">
          <ac:chgData name="Stephanie Hammon" userId="2400f311-ffb8-4e42-955a-d9f87b6496df" providerId="ADAL" clId="{60214E0C-9560-4ACF-BEB1-A87B1F0FE2BF}" dt="2023-11-12T17:24:10.815" v="2913" actId="478"/>
          <ac:picMkLst>
            <pc:docMk/>
            <pc:sldMk cId="3694267384" sldId="344"/>
            <ac:picMk id="16" creationId="{288F97C6-FDFF-7378-7E15-B65B290D6B50}"/>
          </ac:picMkLst>
        </pc:picChg>
        <pc:picChg chg="add del mod">
          <ac:chgData name="Stephanie Hammon" userId="2400f311-ffb8-4e42-955a-d9f87b6496df" providerId="ADAL" clId="{60214E0C-9560-4ACF-BEB1-A87B1F0FE2BF}" dt="2023-11-12T17:28:42.137" v="3211" actId="478"/>
          <ac:picMkLst>
            <pc:docMk/>
            <pc:sldMk cId="3694267384" sldId="344"/>
            <ac:picMk id="18" creationId="{57FFC2E6-6DCF-D99A-9EEF-C968343976BF}"/>
          </ac:picMkLst>
        </pc:picChg>
        <pc:picChg chg="add mod">
          <ac:chgData name="Stephanie Hammon" userId="2400f311-ffb8-4e42-955a-d9f87b6496df" providerId="ADAL" clId="{60214E0C-9560-4ACF-BEB1-A87B1F0FE2BF}" dt="2023-11-12T17:34:28.554" v="3491" actId="1076"/>
          <ac:picMkLst>
            <pc:docMk/>
            <pc:sldMk cId="3694267384" sldId="344"/>
            <ac:picMk id="20" creationId="{D0B7C3B6-BCD2-4B7D-36E0-E78DE087599E}"/>
          </ac:picMkLst>
        </pc:picChg>
      </pc:sldChg>
      <pc:sldChg chg="addSp delSp modSp mod ord">
        <pc:chgData name="Stephanie Hammon" userId="2400f311-ffb8-4e42-955a-d9f87b6496df" providerId="ADAL" clId="{60214E0C-9560-4ACF-BEB1-A87B1F0FE2BF}" dt="2023-11-12T21:40:34.530" v="11927" actId="948"/>
        <pc:sldMkLst>
          <pc:docMk/>
          <pc:sldMk cId="127089015" sldId="346"/>
        </pc:sldMkLst>
        <pc:spChg chg="mod">
          <ac:chgData name="Stephanie Hammon" userId="2400f311-ffb8-4e42-955a-d9f87b6496df" providerId="ADAL" clId="{60214E0C-9560-4ACF-BEB1-A87B1F0FE2BF}" dt="2023-11-12T16:51:17.870" v="1662" actId="6549"/>
          <ac:spMkLst>
            <pc:docMk/>
            <pc:sldMk cId="127089015" sldId="346"/>
            <ac:spMk id="2" creationId="{73A28810-1B3F-8036-CD3F-B0B00A228A6A}"/>
          </ac:spMkLst>
        </pc:spChg>
        <pc:spChg chg="mod">
          <ac:chgData name="Stephanie Hammon" userId="2400f311-ffb8-4e42-955a-d9f87b6496df" providerId="ADAL" clId="{60214E0C-9560-4ACF-BEB1-A87B1F0FE2BF}" dt="2023-11-12T21:40:34.530" v="11927" actId="948"/>
          <ac:spMkLst>
            <pc:docMk/>
            <pc:sldMk cId="127089015" sldId="346"/>
            <ac:spMk id="4" creationId="{F4E5ABF3-4D8B-5977-878A-2B9896E29D92}"/>
          </ac:spMkLst>
        </pc:spChg>
        <pc:grpChg chg="add del mod">
          <ac:chgData name="Stephanie Hammon" userId="2400f311-ffb8-4e42-955a-d9f87b6496df" providerId="ADAL" clId="{60214E0C-9560-4ACF-BEB1-A87B1F0FE2BF}" dt="2023-11-12T21:34:47.998" v="11489" actId="165"/>
          <ac:grpSpMkLst>
            <pc:docMk/>
            <pc:sldMk cId="127089015" sldId="346"/>
            <ac:grpSpMk id="11" creationId="{9D3A9915-EEAD-BD3F-19E9-4F7C4506A854}"/>
          </ac:grpSpMkLst>
        </pc:grpChg>
        <pc:picChg chg="add del mod">
          <ac:chgData name="Stephanie Hammon" userId="2400f311-ffb8-4e42-955a-d9f87b6496df" providerId="ADAL" clId="{60214E0C-9560-4ACF-BEB1-A87B1F0FE2BF}" dt="2023-11-12T16:30:22.072" v="1154" actId="478"/>
          <ac:picMkLst>
            <pc:docMk/>
            <pc:sldMk cId="127089015" sldId="346"/>
            <ac:picMk id="5" creationId="{275C2CA4-1332-8FAA-C00C-6B4E666056D0}"/>
          </ac:picMkLst>
        </pc:picChg>
        <pc:picChg chg="mod topLvl">
          <ac:chgData name="Stephanie Hammon" userId="2400f311-ffb8-4e42-955a-d9f87b6496df" providerId="ADAL" clId="{60214E0C-9560-4ACF-BEB1-A87B1F0FE2BF}" dt="2023-11-12T21:34:47.998" v="11489" actId="165"/>
          <ac:picMkLst>
            <pc:docMk/>
            <pc:sldMk cId="127089015" sldId="346"/>
            <ac:picMk id="6" creationId="{2A3142DA-35D0-2884-FF2A-7496267244BF}"/>
          </ac:picMkLst>
        </pc:picChg>
        <pc:picChg chg="add del mod">
          <ac:chgData name="Stephanie Hammon" userId="2400f311-ffb8-4e42-955a-d9f87b6496df" providerId="ADAL" clId="{60214E0C-9560-4ACF-BEB1-A87B1F0FE2BF}" dt="2023-11-12T16:30:47.127" v="1160" actId="478"/>
          <ac:picMkLst>
            <pc:docMk/>
            <pc:sldMk cId="127089015" sldId="346"/>
            <ac:picMk id="7" creationId="{584305ED-C8CD-7E34-5378-689C13073E51}"/>
          </ac:picMkLst>
        </pc:picChg>
        <pc:picChg chg="del">
          <ac:chgData name="Stephanie Hammon" userId="2400f311-ffb8-4e42-955a-d9f87b6496df" providerId="ADAL" clId="{60214E0C-9560-4ACF-BEB1-A87B1F0FE2BF}" dt="2023-11-12T16:11:43.717" v="15" actId="478"/>
          <ac:picMkLst>
            <pc:docMk/>
            <pc:sldMk cId="127089015" sldId="346"/>
            <ac:picMk id="8" creationId="{8AC8276B-0876-59DA-C504-71407E3ADF40}"/>
          </ac:picMkLst>
        </pc:picChg>
        <pc:picChg chg="mod topLvl">
          <ac:chgData name="Stephanie Hammon" userId="2400f311-ffb8-4e42-955a-d9f87b6496df" providerId="ADAL" clId="{60214E0C-9560-4ACF-BEB1-A87B1F0FE2BF}" dt="2023-11-12T21:34:47.998" v="11489" actId="165"/>
          <ac:picMkLst>
            <pc:docMk/>
            <pc:sldMk cId="127089015" sldId="346"/>
            <ac:picMk id="9" creationId="{3DBAFB1B-0B53-C16A-C52A-5348F43E639C}"/>
          </ac:picMkLst>
        </pc:picChg>
        <pc:picChg chg="add mod topLvl">
          <ac:chgData name="Stephanie Hammon" userId="2400f311-ffb8-4e42-955a-d9f87b6496df" providerId="ADAL" clId="{60214E0C-9560-4ACF-BEB1-A87B1F0FE2BF}" dt="2023-11-12T21:34:47.998" v="11489" actId="165"/>
          <ac:picMkLst>
            <pc:docMk/>
            <pc:sldMk cId="127089015" sldId="346"/>
            <ac:picMk id="10" creationId="{BD4E63FC-2A8D-6ACC-CF87-1603DEC0225A}"/>
          </ac:picMkLst>
        </pc:picChg>
      </pc:sldChg>
      <pc:sldChg chg="modSp mod">
        <pc:chgData name="Stephanie Hammon" userId="2400f311-ffb8-4e42-955a-d9f87b6496df" providerId="ADAL" clId="{60214E0C-9560-4ACF-BEB1-A87B1F0FE2BF}" dt="2023-11-12T16:52:39.012" v="1669" actId="1076"/>
        <pc:sldMkLst>
          <pc:docMk/>
          <pc:sldMk cId="3741072769" sldId="347"/>
        </pc:sldMkLst>
        <pc:spChg chg="mod">
          <ac:chgData name="Stephanie Hammon" userId="2400f311-ffb8-4e42-955a-d9f87b6496df" providerId="ADAL" clId="{60214E0C-9560-4ACF-BEB1-A87B1F0FE2BF}" dt="2023-11-12T16:52:33.377" v="1668" actId="403"/>
          <ac:spMkLst>
            <pc:docMk/>
            <pc:sldMk cId="3741072769" sldId="347"/>
            <ac:spMk id="2" creationId="{6E1811A0-B06E-A546-A365-5D01F64B0AF6}"/>
          </ac:spMkLst>
        </pc:spChg>
        <pc:picChg chg="mod">
          <ac:chgData name="Stephanie Hammon" userId="2400f311-ffb8-4e42-955a-d9f87b6496df" providerId="ADAL" clId="{60214E0C-9560-4ACF-BEB1-A87B1F0FE2BF}" dt="2023-11-12T16:52:39.012" v="1669" actId="1076"/>
          <ac:picMkLst>
            <pc:docMk/>
            <pc:sldMk cId="3741072769" sldId="347"/>
            <ac:picMk id="5" creationId="{E5A0AB17-3040-9742-BFC8-E1D9EE0BA069}"/>
          </ac:picMkLst>
        </pc:picChg>
      </pc:sldChg>
      <pc:sldChg chg="modSp add mod ord modClrScheme chgLayout">
        <pc:chgData name="Stephanie Hammon" userId="2400f311-ffb8-4e42-955a-d9f87b6496df" providerId="ADAL" clId="{60214E0C-9560-4ACF-BEB1-A87B1F0FE2BF}" dt="2023-11-12T21:41:50.712" v="11929" actId="20577"/>
        <pc:sldMkLst>
          <pc:docMk/>
          <pc:sldMk cId="2363572429" sldId="349"/>
        </pc:sldMkLst>
        <pc:spChg chg="mod ord">
          <ac:chgData name="Stephanie Hammon" userId="2400f311-ffb8-4e42-955a-d9f87b6496df" providerId="ADAL" clId="{60214E0C-9560-4ACF-BEB1-A87B1F0FE2BF}" dt="2023-11-12T21:06:22.159" v="9768" actId="20577"/>
          <ac:spMkLst>
            <pc:docMk/>
            <pc:sldMk cId="2363572429" sldId="349"/>
            <ac:spMk id="2" creationId="{C55FCED6-9D9B-32E8-F6D4-DBC50E13117C}"/>
          </ac:spMkLst>
        </pc:spChg>
        <pc:spChg chg="mod ord">
          <ac:chgData name="Stephanie Hammon" userId="2400f311-ffb8-4e42-955a-d9f87b6496df" providerId="ADAL" clId="{60214E0C-9560-4ACF-BEB1-A87B1F0FE2BF}" dt="2023-11-12T21:41:50.712" v="11929" actId="20577"/>
          <ac:spMkLst>
            <pc:docMk/>
            <pc:sldMk cId="2363572429" sldId="349"/>
            <ac:spMk id="3" creationId="{D60C4C43-8750-9063-5258-8830D7DE9B53}"/>
          </ac:spMkLst>
        </pc:spChg>
        <pc:spChg chg="mod ord">
          <ac:chgData name="Stephanie Hammon" userId="2400f311-ffb8-4e42-955a-d9f87b6496df" providerId="ADAL" clId="{60214E0C-9560-4ACF-BEB1-A87B1F0FE2BF}" dt="2023-11-12T20:33:56.789" v="8777" actId="700"/>
          <ac:spMkLst>
            <pc:docMk/>
            <pc:sldMk cId="2363572429" sldId="349"/>
            <ac:spMk id="4" creationId="{986CCB2B-CCCA-7036-EA48-18E43ECFC143}"/>
          </ac:spMkLst>
        </pc:spChg>
      </pc:sldChg>
      <pc:sldChg chg="modSp del mod">
        <pc:chgData name="Stephanie Hammon" userId="2400f311-ffb8-4e42-955a-d9f87b6496df" providerId="ADAL" clId="{60214E0C-9560-4ACF-BEB1-A87B1F0FE2BF}" dt="2023-11-12T16:46:14.089" v="1552" actId="2696"/>
        <pc:sldMkLst>
          <pc:docMk/>
          <pc:sldMk cId="3947669100" sldId="349"/>
        </pc:sldMkLst>
        <pc:spChg chg="mod">
          <ac:chgData name="Stephanie Hammon" userId="2400f311-ffb8-4e42-955a-d9f87b6496df" providerId="ADAL" clId="{60214E0C-9560-4ACF-BEB1-A87B1F0FE2BF}" dt="2023-11-12T16:39:35.626" v="1547" actId="20577"/>
          <ac:spMkLst>
            <pc:docMk/>
            <pc:sldMk cId="3947669100" sldId="349"/>
            <ac:spMk id="2" creationId="{C55FCED6-9D9B-32E8-F6D4-DBC50E13117C}"/>
          </ac:spMkLst>
        </pc:spChg>
        <pc:spChg chg="mod">
          <ac:chgData name="Stephanie Hammon" userId="2400f311-ffb8-4e42-955a-d9f87b6496df" providerId="ADAL" clId="{60214E0C-9560-4ACF-BEB1-A87B1F0FE2BF}" dt="2023-11-12T16:39:25.555" v="1546" actId="20578"/>
          <ac:spMkLst>
            <pc:docMk/>
            <pc:sldMk cId="3947669100" sldId="349"/>
            <ac:spMk id="3" creationId="{D60C4C43-8750-9063-5258-8830D7DE9B53}"/>
          </ac:spMkLst>
        </pc:spChg>
      </pc:sldChg>
      <pc:sldChg chg="addSp delSp modSp add mod ord modClrScheme chgLayout">
        <pc:chgData name="Stephanie Hammon" userId="2400f311-ffb8-4e42-955a-d9f87b6496df" providerId="ADAL" clId="{60214E0C-9560-4ACF-BEB1-A87B1F0FE2BF}" dt="2023-11-12T21:46:05.602" v="11958" actId="20577"/>
        <pc:sldMkLst>
          <pc:docMk/>
          <pc:sldMk cId="901108566" sldId="352"/>
        </pc:sldMkLst>
        <pc:spChg chg="mod ord">
          <ac:chgData name="Stephanie Hammon" userId="2400f311-ffb8-4e42-955a-d9f87b6496df" providerId="ADAL" clId="{60214E0C-9560-4ACF-BEB1-A87B1F0FE2BF}" dt="2023-11-12T21:46:05.602" v="11958" actId="20577"/>
          <ac:spMkLst>
            <pc:docMk/>
            <pc:sldMk cId="901108566" sldId="352"/>
            <ac:spMk id="2" creationId="{D4E8A39B-1DB7-13B2-D3A0-766CFDC8A638}"/>
          </ac:spMkLst>
        </pc:spChg>
        <pc:spChg chg="mod ord">
          <ac:chgData name="Stephanie Hammon" userId="2400f311-ffb8-4e42-955a-d9f87b6496df" providerId="ADAL" clId="{60214E0C-9560-4ACF-BEB1-A87B1F0FE2BF}" dt="2023-11-12T20:34:28.529" v="8781" actId="700"/>
          <ac:spMkLst>
            <pc:docMk/>
            <pc:sldMk cId="901108566" sldId="352"/>
            <ac:spMk id="3" creationId="{C4916EBF-C8F4-0779-2EE7-F46022438A28}"/>
          </ac:spMkLst>
        </pc:spChg>
        <pc:spChg chg="add del mod ord">
          <ac:chgData name="Stephanie Hammon" userId="2400f311-ffb8-4e42-955a-d9f87b6496df" providerId="ADAL" clId="{60214E0C-9560-4ACF-BEB1-A87B1F0FE2BF}" dt="2023-11-12T20:49:26.609" v="9099" actId="478"/>
          <ac:spMkLst>
            <pc:docMk/>
            <pc:sldMk cId="901108566" sldId="352"/>
            <ac:spMk id="4" creationId="{55C50ECF-CDD6-752E-5671-E142885BCEAF}"/>
          </ac:spMkLst>
        </pc:spChg>
        <pc:spChg chg="mod">
          <ac:chgData name="Stephanie Hammon" userId="2400f311-ffb8-4e42-955a-d9f87b6496df" providerId="ADAL" clId="{60214E0C-9560-4ACF-BEB1-A87B1F0FE2BF}" dt="2023-11-12T21:43:39.427" v="11932" actId="1036"/>
          <ac:spMkLst>
            <pc:docMk/>
            <pc:sldMk cId="901108566" sldId="352"/>
            <ac:spMk id="9" creationId="{2F9F1232-2261-9E99-3844-7607C04A3B71}"/>
          </ac:spMkLst>
        </pc:spChg>
        <pc:spChg chg="mod">
          <ac:chgData name="Stephanie Hammon" userId="2400f311-ffb8-4e42-955a-d9f87b6496df" providerId="ADAL" clId="{60214E0C-9560-4ACF-BEB1-A87B1F0FE2BF}" dt="2023-11-12T21:30:34.266" v="11338" actId="1037"/>
          <ac:spMkLst>
            <pc:docMk/>
            <pc:sldMk cId="901108566" sldId="352"/>
            <ac:spMk id="11" creationId="{42E90FA0-2D50-6FA7-64F9-C44A696E88C7}"/>
          </ac:spMkLst>
        </pc:spChg>
        <pc:spChg chg="mod">
          <ac:chgData name="Stephanie Hammon" userId="2400f311-ffb8-4e42-955a-d9f87b6496df" providerId="ADAL" clId="{60214E0C-9560-4ACF-BEB1-A87B1F0FE2BF}" dt="2023-11-12T21:30:25.781" v="11334" actId="1037"/>
          <ac:spMkLst>
            <pc:docMk/>
            <pc:sldMk cId="901108566" sldId="352"/>
            <ac:spMk id="12" creationId="{E623AE16-05F0-75A6-158E-0DCBC251DF83}"/>
          </ac:spMkLst>
        </pc:spChg>
        <pc:spChg chg="mod">
          <ac:chgData name="Stephanie Hammon" userId="2400f311-ffb8-4e42-955a-d9f87b6496df" providerId="ADAL" clId="{60214E0C-9560-4ACF-BEB1-A87B1F0FE2BF}" dt="2023-11-12T21:43:43.869" v="11933" actId="1038"/>
          <ac:spMkLst>
            <pc:docMk/>
            <pc:sldMk cId="901108566" sldId="352"/>
            <ac:spMk id="13" creationId="{84A81524-2723-C2C0-FEAD-9B8AB3076E24}"/>
          </ac:spMkLst>
        </pc:spChg>
        <pc:spChg chg="mod">
          <ac:chgData name="Stephanie Hammon" userId="2400f311-ffb8-4e42-955a-d9f87b6496df" providerId="ADAL" clId="{60214E0C-9560-4ACF-BEB1-A87B1F0FE2BF}" dt="2023-11-12T21:30:34.266" v="11338" actId="1037"/>
          <ac:spMkLst>
            <pc:docMk/>
            <pc:sldMk cId="901108566" sldId="352"/>
            <ac:spMk id="14" creationId="{ECBE2B5E-8439-698E-DE4D-B1DDC6A7E3D5}"/>
          </ac:spMkLst>
        </pc:spChg>
        <pc:spChg chg="mod">
          <ac:chgData name="Stephanie Hammon" userId="2400f311-ffb8-4e42-955a-d9f87b6496df" providerId="ADAL" clId="{60214E0C-9560-4ACF-BEB1-A87B1F0FE2BF}" dt="2023-11-12T21:30:25.781" v="11334" actId="1037"/>
          <ac:spMkLst>
            <pc:docMk/>
            <pc:sldMk cId="901108566" sldId="352"/>
            <ac:spMk id="15" creationId="{1D740D47-E7A9-E8EC-37D7-9B2D40B5D229}"/>
          </ac:spMkLst>
        </pc:spChg>
        <pc:picChg chg="mod">
          <ac:chgData name="Stephanie Hammon" userId="2400f311-ffb8-4e42-955a-d9f87b6496df" providerId="ADAL" clId="{60214E0C-9560-4ACF-BEB1-A87B1F0FE2BF}" dt="2023-11-12T21:27:51.527" v="11248" actId="14100"/>
          <ac:picMkLst>
            <pc:docMk/>
            <pc:sldMk cId="901108566" sldId="352"/>
            <ac:picMk id="7" creationId="{7D1961B3-3202-4DB1-0430-1BB7C24C64A9}"/>
          </ac:picMkLst>
        </pc:picChg>
        <pc:picChg chg="mod">
          <ac:chgData name="Stephanie Hammon" userId="2400f311-ffb8-4e42-955a-d9f87b6496df" providerId="ADAL" clId="{60214E0C-9560-4ACF-BEB1-A87B1F0FE2BF}" dt="2023-11-12T21:30:25.781" v="11334" actId="1037"/>
          <ac:picMkLst>
            <pc:docMk/>
            <pc:sldMk cId="901108566" sldId="352"/>
            <ac:picMk id="10" creationId="{E349E407-05D9-3A0F-E594-916911DF9EE1}"/>
          </ac:picMkLst>
        </pc:picChg>
      </pc:sldChg>
      <pc:sldChg chg="del">
        <pc:chgData name="Stephanie Hammon" userId="2400f311-ffb8-4e42-955a-d9f87b6496df" providerId="ADAL" clId="{60214E0C-9560-4ACF-BEB1-A87B1F0FE2BF}" dt="2023-11-12T16:46:14.089" v="1552" actId="2696"/>
        <pc:sldMkLst>
          <pc:docMk/>
          <pc:sldMk cId="3957934177" sldId="352"/>
        </pc:sldMkLst>
      </pc:sldChg>
      <pc:sldChg chg="addSp delSp modSp add del mod ord modClrScheme chgLayout">
        <pc:chgData name="Stephanie Hammon" userId="2400f311-ffb8-4e42-955a-d9f87b6496df" providerId="ADAL" clId="{60214E0C-9560-4ACF-BEB1-A87B1F0FE2BF}" dt="2023-11-12T20:54:15.769" v="9325" actId="47"/>
        <pc:sldMkLst>
          <pc:docMk/>
          <pc:sldMk cId="3681214429" sldId="353"/>
        </pc:sldMkLst>
        <pc:spChg chg="mod ord">
          <ac:chgData name="Stephanie Hammon" userId="2400f311-ffb8-4e42-955a-d9f87b6496df" providerId="ADAL" clId="{60214E0C-9560-4ACF-BEB1-A87B1F0FE2BF}" dt="2023-11-12T20:50:14.311" v="9102" actId="700"/>
          <ac:spMkLst>
            <pc:docMk/>
            <pc:sldMk cId="3681214429" sldId="353"/>
            <ac:spMk id="2" creationId="{C55FCED6-9D9B-32E8-F6D4-DBC50E13117C}"/>
          </ac:spMkLst>
        </pc:spChg>
        <pc:spChg chg="add del mod ord">
          <ac:chgData name="Stephanie Hammon" userId="2400f311-ffb8-4e42-955a-d9f87b6496df" providerId="ADAL" clId="{60214E0C-9560-4ACF-BEB1-A87B1F0FE2BF}" dt="2023-11-12T20:48:38.676" v="9083" actId="478"/>
          <ac:spMkLst>
            <pc:docMk/>
            <pc:sldMk cId="3681214429" sldId="353"/>
            <ac:spMk id="3" creationId="{BD02D853-29F1-1193-BEF0-C0F680EBF3D8}"/>
          </ac:spMkLst>
        </pc:spChg>
        <pc:spChg chg="mod ord">
          <ac:chgData name="Stephanie Hammon" userId="2400f311-ffb8-4e42-955a-d9f87b6496df" providerId="ADAL" clId="{60214E0C-9560-4ACF-BEB1-A87B1F0FE2BF}" dt="2023-11-12T20:50:14.311" v="9102" actId="700"/>
          <ac:spMkLst>
            <pc:docMk/>
            <pc:sldMk cId="3681214429" sldId="353"/>
            <ac:spMk id="4" creationId="{986CCB2B-CCCA-7036-EA48-18E43ECFC143}"/>
          </ac:spMkLst>
        </pc:spChg>
        <pc:spChg chg="mod">
          <ac:chgData name="Stephanie Hammon" userId="2400f311-ffb8-4e42-955a-d9f87b6496df" providerId="ADAL" clId="{60214E0C-9560-4ACF-BEB1-A87B1F0FE2BF}" dt="2023-11-12T20:53:10.907" v="9311" actId="21"/>
          <ac:spMkLst>
            <pc:docMk/>
            <pc:sldMk cId="3681214429" sldId="353"/>
            <ac:spMk id="6" creationId="{BC8AE18E-E92A-AC26-9C0E-18EAC816A785}"/>
          </ac:spMkLst>
        </pc:spChg>
        <pc:spChg chg="mod">
          <ac:chgData name="Stephanie Hammon" userId="2400f311-ffb8-4e42-955a-d9f87b6496df" providerId="ADAL" clId="{60214E0C-9560-4ACF-BEB1-A87B1F0FE2BF}" dt="2023-11-12T20:53:28.788" v="9317" actId="21"/>
          <ac:spMkLst>
            <pc:docMk/>
            <pc:sldMk cId="3681214429" sldId="353"/>
            <ac:spMk id="8" creationId="{13443D10-1DBB-9DC3-B7ED-AB244BE6C04E}"/>
          </ac:spMkLst>
        </pc:spChg>
        <pc:spChg chg="add del mod ord">
          <ac:chgData name="Stephanie Hammon" userId="2400f311-ffb8-4e42-955a-d9f87b6496df" providerId="ADAL" clId="{60214E0C-9560-4ACF-BEB1-A87B1F0FE2BF}" dt="2023-11-12T20:50:14.311" v="9102" actId="700"/>
          <ac:spMkLst>
            <pc:docMk/>
            <pc:sldMk cId="3681214429" sldId="353"/>
            <ac:spMk id="9" creationId="{DF3EB2D8-D36C-8813-9B95-AA67EA33B8C2}"/>
          </ac:spMkLst>
        </pc:spChg>
      </pc:sldChg>
      <pc:sldChg chg="del">
        <pc:chgData name="Stephanie Hammon" userId="2400f311-ffb8-4e42-955a-d9f87b6496df" providerId="ADAL" clId="{60214E0C-9560-4ACF-BEB1-A87B1F0FE2BF}" dt="2023-11-12T16:46:14.089" v="1552" actId="2696"/>
        <pc:sldMkLst>
          <pc:docMk/>
          <pc:sldMk cId="4113751261" sldId="353"/>
        </pc:sldMkLst>
      </pc:sldChg>
      <pc:sldChg chg="del">
        <pc:chgData name="Stephanie Hammon" userId="2400f311-ffb8-4e42-955a-d9f87b6496df" providerId="ADAL" clId="{60214E0C-9560-4ACF-BEB1-A87B1F0FE2BF}" dt="2023-11-12T16:46:14.089" v="1552" actId="2696"/>
        <pc:sldMkLst>
          <pc:docMk/>
          <pc:sldMk cId="710199131" sldId="354"/>
        </pc:sldMkLst>
      </pc:sldChg>
      <pc:sldChg chg="addSp delSp modSp add del mod ord modClrScheme chgLayout">
        <pc:chgData name="Stephanie Hammon" userId="2400f311-ffb8-4e42-955a-d9f87b6496df" providerId="ADAL" clId="{60214E0C-9560-4ACF-BEB1-A87B1F0FE2BF}" dt="2023-11-12T20:54:17.528" v="9326" actId="47"/>
        <pc:sldMkLst>
          <pc:docMk/>
          <pc:sldMk cId="3785629516" sldId="354"/>
        </pc:sldMkLst>
        <pc:spChg chg="mod ord">
          <ac:chgData name="Stephanie Hammon" userId="2400f311-ffb8-4e42-955a-d9f87b6496df" providerId="ADAL" clId="{60214E0C-9560-4ACF-BEB1-A87B1F0FE2BF}" dt="2023-11-12T20:34:24.385" v="8780" actId="700"/>
          <ac:spMkLst>
            <pc:docMk/>
            <pc:sldMk cId="3785629516" sldId="354"/>
            <ac:spMk id="2" creationId="{C55FCED6-9D9B-32E8-F6D4-DBC50E13117C}"/>
          </ac:spMkLst>
        </pc:spChg>
        <pc:spChg chg="add del mod ord">
          <ac:chgData name="Stephanie Hammon" userId="2400f311-ffb8-4e42-955a-d9f87b6496df" providerId="ADAL" clId="{60214E0C-9560-4ACF-BEB1-A87B1F0FE2BF}" dt="2023-11-12T20:53:37.186" v="9319" actId="478"/>
          <ac:spMkLst>
            <pc:docMk/>
            <pc:sldMk cId="3785629516" sldId="354"/>
            <ac:spMk id="3" creationId="{6B25919F-71C5-9271-E15A-548D62591269}"/>
          </ac:spMkLst>
        </pc:spChg>
        <pc:spChg chg="mod ord">
          <ac:chgData name="Stephanie Hammon" userId="2400f311-ffb8-4e42-955a-d9f87b6496df" providerId="ADAL" clId="{60214E0C-9560-4ACF-BEB1-A87B1F0FE2BF}" dt="2023-11-12T20:34:24.385" v="8780" actId="700"/>
          <ac:spMkLst>
            <pc:docMk/>
            <pc:sldMk cId="3785629516" sldId="354"/>
            <ac:spMk id="4" creationId="{986CCB2B-CCCA-7036-EA48-18E43ECFC143}"/>
          </ac:spMkLst>
        </pc:spChg>
        <pc:spChg chg="mod">
          <ac:chgData name="Stephanie Hammon" userId="2400f311-ffb8-4e42-955a-d9f87b6496df" providerId="ADAL" clId="{60214E0C-9560-4ACF-BEB1-A87B1F0FE2BF}" dt="2023-11-12T20:53:52.505" v="9321" actId="21"/>
          <ac:spMkLst>
            <pc:docMk/>
            <pc:sldMk cId="3785629516" sldId="354"/>
            <ac:spMk id="12" creationId="{F70EA36D-2BB5-C42D-632A-7FF3CB258CAE}"/>
          </ac:spMkLst>
        </pc:spChg>
        <pc:spChg chg="mod">
          <ac:chgData name="Stephanie Hammon" userId="2400f311-ffb8-4e42-955a-d9f87b6496df" providerId="ADAL" clId="{60214E0C-9560-4ACF-BEB1-A87B1F0FE2BF}" dt="2023-11-12T20:54:02.177" v="9323" actId="21"/>
          <ac:spMkLst>
            <pc:docMk/>
            <pc:sldMk cId="3785629516" sldId="354"/>
            <ac:spMk id="14" creationId="{E328900E-A25E-7EA5-DCE7-912FC35C3DAA}"/>
          </ac:spMkLst>
        </pc:spChg>
      </pc:sldChg>
      <pc:sldChg chg="addSp modSp mod">
        <pc:chgData name="Stephanie Hammon" userId="2400f311-ffb8-4e42-955a-d9f87b6496df" providerId="ADAL" clId="{60214E0C-9560-4ACF-BEB1-A87B1F0FE2BF}" dt="2023-11-12T17:47:15.607" v="3960" actId="6549"/>
        <pc:sldMkLst>
          <pc:docMk/>
          <pc:sldMk cId="3468427173" sldId="355"/>
        </pc:sldMkLst>
        <pc:spChg chg="mod">
          <ac:chgData name="Stephanie Hammon" userId="2400f311-ffb8-4e42-955a-d9f87b6496df" providerId="ADAL" clId="{60214E0C-9560-4ACF-BEB1-A87B1F0FE2BF}" dt="2023-11-12T17:45:38.119" v="3922" actId="20577"/>
          <ac:spMkLst>
            <pc:docMk/>
            <pc:sldMk cId="3468427173" sldId="355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15.607" v="3960" actId="6549"/>
          <ac:spMkLst>
            <pc:docMk/>
            <pc:sldMk cId="3468427173" sldId="355"/>
            <ac:spMk id="6" creationId="{795BE4EA-4551-7FE0-6BE6-266A3DDE8A6B}"/>
          </ac:spMkLst>
        </pc:spChg>
        <pc:picChg chg="add mod">
          <ac:chgData name="Stephanie Hammon" userId="2400f311-ffb8-4e42-955a-d9f87b6496df" providerId="ADAL" clId="{60214E0C-9560-4ACF-BEB1-A87B1F0FE2BF}" dt="2023-11-12T17:46:43.395" v="3948"/>
          <ac:picMkLst>
            <pc:docMk/>
            <pc:sldMk cId="3468427173" sldId="355"/>
            <ac:picMk id="5" creationId="{3C159D39-05AC-F285-6B07-73ED90340F3B}"/>
          </ac:picMkLst>
        </pc:picChg>
      </pc:sldChg>
      <pc:sldChg chg="addSp modSp mod">
        <pc:chgData name="Stephanie Hammon" userId="2400f311-ffb8-4e42-955a-d9f87b6496df" providerId="ADAL" clId="{60214E0C-9560-4ACF-BEB1-A87B1F0FE2BF}" dt="2023-11-12T17:47:12.866" v="3959" actId="6549"/>
        <pc:sldMkLst>
          <pc:docMk/>
          <pc:sldMk cId="4277533761" sldId="356"/>
        </pc:sldMkLst>
        <pc:spChg chg="mod">
          <ac:chgData name="Stephanie Hammon" userId="2400f311-ffb8-4e42-955a-d9f87b6496df" providerId="ADAL" clId="{60214E0C-9560-4ACF-BEB1-A87B1F0FE2BF}" dt="2023-11-12T17:41:46.363" v="3578" actId="20577"/>
          <ac:spMkLst>
            <pc:docMk/>
            <pc:sldMk cId="4277533761" sldId="356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12.866" v="3959" actId="6549"/>
          <ac:spMkLst>
            <pc:docMk/>
            <pc:sldMk cId="4277533761" sldId="356"/>
            <ac:spMk id="6" creationId="{EE00A83F-5466-CF19-6CCE-0F1EA9F2E014}"/>
          </ac:spMkLst>
        </pc:spChg>
        <pc:picChg chg="add mod">
          <ac:chgData name="Stephanie Hammon" userId="2400f311-ffb8-4e42-955a-d9f87b6496df" providerId="ADAL" clId="{60214E0C-9560-4ACF-BEB1-A87B1F0FE2BF}" dt="2023-11-12T17:46:46.591" v="3949"/>
          <ac:picMkLst>
            <pc:docMk/>
            <pc:sldMk cId="4277533761" sldId="356"/>
            <ac:picMk id="5" creationId="{4E6F49DF-5BE6-67E1-D9E8-33CC07FE24AD}"/>
          </ac:picMkLst>
        </pc:picChg>
      </pc:sldChg>
      <pc:sldChg chg="addSp modSp mod">
        <pc:chgData name="Stephanie Hammon" userId="2400f311-ffb8-4e42-955a-d9f87b6496df" providerId="ADAL" clId="{60214E0C-9560-4ACF-BEB1-A87B1F0FE2BF}" dt="2023-11-12T19:34:03.185" v="6392" actId="20577"/>
        <pc:sldMkLst>
          <pc:docMk/>
          <pc:sldMk cId="190112934" sldId="357"/>
        </pc:sldMkLst>
        <pc:spChg chg="mod">
          <ac:chgData name="Stephanie Hammon" userId="2400f311-ffb8-4e42-955a-d9f87b6496df" providerId="ADAL" clId="{60214E0C-9560-4ACF-BEB1-A87B1F0FE2BF}" dt="2023-11-12T19:34:03.185" v="6392" actId="20577"/>
          <ac:spMkLst>
            <pc:docMk/>
            <pc:sldMk cId="190112934" sldId="357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10.122" v="3958" actId="6549"/>
          <ac:spMkLst>
            <pc:docMk/>
            <pc:sldMk cId="190112934" sldId="357"/>
            <ac:spMk id="6" creationId="{417B72D1-11CF-B15B-E139-F2DEDE4FA42F}"/>
          </ac:spMkLst>
        </pc:spChg>
        <pc:picChg chg="add mod">
          <ac:chgData name="Stephanie Hammon" userId="2400f311-ffb8-4e42-955a-d9f87b6496df" providerId="ADAL" clId="{60214E0C-9560-4ACF-BEB1-A87B1F0FE2BF}" dt="2023-11-12T17:46:48.258" v="3950"/>
          <ac:picMkLst>
            <pc:docMk/>
            <pc:sldMk cId="190112934" sldId="357"/>
            <ac:picMk id="5" creationId="{884C1E5B-B54A-06AE-2E6C-77C8350AA8CA}"/>
          </ac:picMkLst>
        </pc:picChg>
      </pc:sldChg>
      <pc:sldChg chg="addSp modSp mod">
        <pc:chgData name="Stephanie Hammon" userId="2400f311-ffb8-4e42-955a-d9f87b6496df" providerId="ADAL" clId="{60214E0C-9560-4ACF-BEB1-A87B1F0FE2BF}" dt="2023-11-12T19:34:41.048" v="6397" actId="20577"/>
        <pc:sldMkLst>
          <pc:docMk/>
          <pc:sldMk cId="1343741603" sldId="358"/>
        </pc:sldMkLst>
        <pc:spChg chg="mod">
          <ac:chgData name="Stephanie Hammon" userId="2400f311-ffb8-4e42-955a-d9f87b6496df" providerId="ADAL" clId="{60214E0C-9560-4ACF-BEB1-A87B1F0FE2BF}" dt="2023-11-12T19:34:41.048" v="6397" actId="20577"/>
          <ac:spMkLst>
            <pc:docMk/>
            <pc:sldMk cId="1343741603" sldId="358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07.114" v="3957" actId="6549"/>
          <ac:spMkLst>
            <pc:docMk/>
            <pc:sldMk cId="1343741603" sldId="358"/>
            <ac:spMk id="6" creationId="{5449D1A0-4F78-DE61-41CA-F763CDD0CE22}"/>
          </ac:spMkLst>
        </pc:spChg>
        <pc:picChg chg="add mod">
          <ac:chgData name="Stephanie Hammon" userId="2400f311-ffb8-4e42-955a-d9f87b6496df" providerId="ADAL" clId="{60214E0C-9560-4ACF-BEB1-A87B1F0FE2BF}" dt="2023-11-12T17:46:49.756" v="3951"/>
          <ac:picMkLst>
            <pc:docMk/>
            <pc:sldMk cId="1343741603" sldId="358"/>
            <ac:picMk id="5" creationId="{876E61E7-C796-4A99-F40C-8F1132C00488}"/>
          </ac:picMkLst>
        </pc:picChg>
      </pc:sldChg>
      <pc:sldChg chg="addSp modSp mod">
        <pc:chgData name="Stephanie Hammon" userId="2400f311-ffb8-4e42-955a-d9f87b6496df" providerId="ADAL" clId="{60214E0C-9560-4ACF-BEB1-A87B1F0FE2BF}" dt="2023-11-12T19:35:05.138" v="6425" actId="6549"/>
        <pc:sldMkLst>
          <pc:docMk/>
          <pc:sldMk cId="748430888" sldId="359"/>
        </pc:sldMkLst>
        <pc:spChg chg="mod">
          <ac:chgData name="Stephanie Hammon" userId="2400f311-ffb8-4e42-955a-d9f87b6496df" providerId="ADAL" clId="{60214E0C-9560-4ACF-BEB1-A87B1F0FE2BF}" dt="2023-11-12T19:35:05.138" v="6425" actId="6549"/>
          <ac:spMkLst>
            <pc:docMk/>
            <pc:sldMk cId="748430888" sldId="359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04.993" v="3956" actId="6549"/>
          <ac:spMkLst>
            <pc:docMk/>
            <pc:sldMk cId="748430888" sldId="359"/>
            <ac:spMk id="6" creationId="{8DCEFC89-05F4-0F6D-3BB5-B7826D95E567}"/>
          </ac:spMkLst>
        </pc:spChg>
        <pc:picChg chg="add mod">
          <ac:chgData name="Stephanie Hammon" userId="2400f311-ffb8-4e42-955a-d9f87b6496df" providerId="ADAL" clId="{60214E0C-9560-4ACF-BEB1-A87B1F0FE2BF}" dt="2023-11-12T17:46:33.723" v="3947" actId="1076"/>
          <ac:picMkLst>
            <pc:docMk/>
            <pc:sldMk cId="748430888" sldId="359"/>
            <ac:picMk id="5" creationId="{F27E27D7-11E2-275F-2BAD-AB541C9EBF5D}"/>
          </ac:picMkLst>
        </pc:picChg>
      </pc:sldChg>
      <pc:sldChg chg="addSp modSp mod ord">
        <pc:chgData name="Stephanie Hammon" userId="2400f311-ffb8-4e42-955a-d9f87b6496df" providerId="ADAL" clId="{60214E0C-9560-4ACF-BEB1-A87B1F0FE2BF}" dt="2023-11-12T19:36:25.646" v="6572" actId="6549"/>
        <pc:sldMkLst>
          <pc:docMk/>
          <pc:sldMk cId="1727250290" sldId="360"/>
        </pc:sldMkLst>
        <pc:spChg chg="mod">
          <ac:chgData name="Stephanie Hammon" userId="2400f311-ffb8-4e42-955a-d9f87b6496df" providerId="ADAL" clId="{60214E0C-9560-4ACF-BEB1-A87B1F0FE2BF}" dt="2023-11-12T19:36:25.646" v="6572" actId="6549"/>
          <ac:spMkLst>
            <pc:docMk/>
            <pc:sldMk cId="1727250290" sldId="360"/>
            <ac:spMk id="3" creationId="{D60C4C43-8750-9063-5258-8830D7DE9B53}"/>
          </ac:spMkLst>
        </pc:spChg>
        <pc:spChg chg="add mod">
          <ac:chgData name="Stephanie Hammon" userId="2400f311-ffb8-4e42-955a-d9f87b6496df" providerId="ADAL" clId="{60214E0C-9560-4ACF-BEB1-A87B1F0FE2BF}" dt="2023-11-12T17:47:02.144" v="3955" actId="6549"/>
          <ac:spMkLst>
            <pc:docMk/>
            <pc:sldMk cId="1727250290" sldId="360"/>
            <ac:spMk id="6" creationId="{60947ACE-672A-8862-4E53-F975AFE2ABE5}"/>
          </ac:spMkLst>
        </pc:spChg>
        <pc:picChg chg="add mod">
          <ac:chgData name="Stephanie Hammon" userId="2400f311-ffb8-4e42-955a-d9f87b6496df" providerId="ADAL" clId="{60214E0C-9560-4ACF-BEB1-A87B1F0FE2BF}" dt="2023-11-12T17:46:58.534" v="3954"/>
          <ac:picMkLst>
            <pc:docMk/>
            <pc:sldMk cId="1727250290" sldId="360"/>
            <ac:picMk id="5" creationId="{2224F16E-983D-0B5C-4A44-A967829CD09A}"/>
          </ac:picMkLst>
        </pc:picChg>
      </pc:sldChg>
      <pc:sldChg chg="ord">
        <pc:chgData name="Stephanie Hammon" userId="2400f311-ffb8-4e42-955a-d9f87b6496df" providerId="ADAL" clId="{60214E0C-9560-4ACF-BEB1-A87B1F0FE2BF}" dt="2023-11-13T08:07:38.813" v="12182"/>
        <pc:sldMkLst>
          <pc:docMk/>
          <pc:sldMk cId="1213799657" sldId="361"/>
        </pc:sldMkLst>
      </pc:sldChg>
      <pc:sldChg chg="ord">
        <pc:chgData name="Stephanie Hammon" userId="2400f311-ffb8-4e42-955a-d9f87b6496df" providerId="ADAL" clId="{60214E0C-9560-4ACF-BEB1-A87B1F0FE2BF}" dt="2023-11-13T08:07:38.813" v="12182"/>
        <pc:sldMkLst>
          <pc:docMk/>
          <pc:sldMk cId="3265964388" sldId="362"/>
        </pc:sldMkLst>
      </pc:sldChg>
      <pc:sldChg chg="modSp mod ord">
        <pc:chgData name="Stephanie Hammon" userId="2400f311-ffb8-4e42-955a-d9f87b6496df" providerId="ADAL" clId="{60214E0C-9560-4ACF-BEB1-A87B1F0FE2BF}" dt="2023-11-13T08:07:38.813" v="12182"/>
        <pc:sldMkLst>
          <pc:docMk/>
          <pc:sldMk cId="310306656" sldId="363"/>
        </pc:sldMkLst>
        <pc:spChg chg="mod">
          <ac:chgData name="Stephanie Hammon" userId="2400f311-ffb8-4e42-955a-d9f87b6496df" providerId="ADAL" clId="{60214E0C-9560-4ACF-BEB1-A87B1F0FE2BF}" dt="2023-11-12T21:09:40.023" v="9962" actId="207"/>
          <ac:spMkLst>
            <pc:docMk/>
            <pc:sldMk cId="310306656" sldId="363"/>
            <ac:spMk id="2" creationId="{6E1811A0-B06E-A546-A365-5D01F64B0AF6}"/>
          </ac:spMkLst>
        </pc:spChg>
        <pc:picChg chg="mod">
          <ac:chgData name="Stephanie Hammon" userId="2400f311-ffb8-4e42-955a-d9f87b6496df" providerId="ADAL" clId="{60214E0C-9560-4ACF-BEB1-A87B1F0FE2BF}" dt="2023-11-12T19:51:08.622" v="7648" actId="1076"/>
          <ac:picMkLst>
            <pc:docMk/>
            <pc:sldMk cId="310306656" sldId="363"/>
            <ac:picMk id="5" creationId="{0A0B844E-BDF4-9D49-8188-5BFB43082F8D}"/>
          </ac:picMkLst>
        </pc:picChg>
      </pc:sldChg>
      <pc:sldChg chg="addSp delSp modSp mod">
        <pc:chgData name="Stephanie Hammon" userId="2400f311-ffb8-4e42-955a-d9f87b6496df" providerId="ADAL" clId="{60214E0C-9560-4ACF-BEB1-A87B1F0FE2BF}" dt="2023-11-12T17:56:18.351" v="3976" actId="1076"/>
        <pc:sldMkLst>
          <pc:docMk/>
          <pc:sldMk cId="3354665059" sldId="364"/>
        </pc:sldMkLst>
        <pc:spChg chg="mod">
          <ac:chgData name="Stephanie Hammon" userId="2400f311-ffb8-4e42-955a-d9f87b6496df" providerId="ADAL" clId="{60214E0C-9560-4ACF-BEB1-A87B1F0FE2BF}" dt="2023-11-12T17:55:02.739" v="3965" actId="1076"/>
          <ac:spMkLst>
            <pc:docMk/>
            <pc:sldMk cId="3354665059" sldId="364"/>
            <ac:spMk id="2" creationId="{6E1811A0-B06E-A546-A365-5D01F64B0AF6}"/>
          </ac:spMkLst>
        </pc:spChg>
        <pc:picChg chg="add mod">
          <ac:chgData name="Stephanie Hammon" userId="2400f311-ffb8-4e42-955a-d9f87b6496df" providerId="ADAL" clId="{60214E0C-9560-4ACF-BEB1-A87B1F0FE2BF}" dt="2023-11-12T17:56:18.351" v="3976" actId="1076"/>
          <ac:picMkLst>
            <pc:docMk/>
            <pc:sldMk cId="3354665059" sldId="364"/>
            <ac:picMk id="3" creationId="{236DD77A-831C-F1B5-9E12-DE3A9C927297}"/>
          </ac:picMkLst>
        </pc:picChg>
        <pc:picChg chg="del mod">
          <ac:chgData name="Stephanie Hammon" userId="2400f311-ffb8-4e42-955a-d9f87b6496df" providerId="ADAL" clId="{60214E0C-9560-4ACF-BEB1-A87B1F0FE2BF}" dt="2023-11-12T17:55:22.954" v="3968" actId="478"/>
          <ac:picMkLst>
            <pc:docMk/>
            <pc:sldMk cId="3354665059" sldId="364"/>
            <ac:picMk id="5" creationId="{9216E116-3F1A-5C43-A770-4CD1176E9094}"/>
          </ac:picMkLst>
        </pc:picChg>
      </pc:sldChg>
      <pc:sldChg chg="modSp new del mod">
        <pc:chgData name="Stephanie Hammon" userId="2400f311-ffb8-4e42-955a-d9f87b6496df" providerId="ADAL" clId="{60214E0C-9560-4ACF-BEB1-A87B1F0FE2BF}" dt="2023-11-12T17:38:15.282" v="3507" actId="47"/>
        <pc:sldMkLst>
          <pc:docMk/>
          <pc:sldMk cId="2019158480" sldId="371"/>
        </pc:sldMkLst>
        <pc:spChg chg="mod">
          <ac:chgData name="Stephanie Hammon" userId="2400f311-ffb8-4e42-955a-d9f87b6496df" providerId="ADAL" clId="{60214E0C-9560-4ACF-BEB1-A87B1F0FE2BF}" dt="2023-11-12T16:50:59.783" v="1659"/>
          <ac:spMkLst>
            <pc:docMk/>
            <pc:sldMk cId="2019158480" sldId="371"/>
            <ac:spMk id="4" creationId="{2E914A0F-120A-0F94-ACCA-0A23A55A2BDC}"/>
          </ac:spMkLst>
        </pc:spChg>
      </pc:sldChg>
      <pc:sldChg chg="add del">
        <pc:chgData name="Stephanie Hammon" userId="2400f311-ffb8-4e42-955a-d9f87b6496df" providerId="ADAL" clId="{60214E0C-9560-4ACF-BEB1-A87B1F0FE2BF}" dt="2023-11-12T16:49:40.275" v="1587" actId="47"/>
        <pc:sldMkLst>
          <pc:docMk/>
          <pc:sldMk cId="3526963535" sldId="371"/>
        </pc:sldMkLst>
      </pc:sldChg>
      <pc:sldChg chg="addSp delSp modSp add mod">
        <pc:chgData name="Stephanie Hammon" userId="2400f311-ffb8-4e42-955a-d9f87b6496df" providerId="ADAL" clId="{60214E0C-9560-4ACF-BEB1-A87B1F0FE2BF}" dt="2023-11-12T17:34:50.912" v="3506" actId="6549"/>
        <pc:sldMkLst>
          <pc:docMk/>
          <pc:sldMk cId="3378124550" sldId="372"/>
        </pc:sldMkLst>
        <pc:spChg chg="mod">
          <ac:chgData name="Stephanie Hammon" userId="2400f311-ffb8-4e42-955a-d9f87b6496df" providerId="ADAL" clId="{60214E0C-9560-4ACF-BEB1-A87B1F0FE2BF}" dt="2023-11-12T17:34:50.912" v="3506" actId="6549"/>
          <ac:spMkLst>
            <pc:docMk/>
            <pc:sldMk cId="3378124550" sldId="372"/>
            <ac:spMk id="2" creationId="{D4C43DD4-84AD-9684-92C8-53B1374287AC}"/>
          </ac:spMkLst>
        </pc:spChg>
        <pc:spChg chg="del mod">
          <ac:chgData name="Stephanie Hammon" userId="2400f311-ffb8-4e42-955a-d9f87b6496df" providerId="ADAL" clId="{60214E0C-9560-4ACF-BEB1-A87B1F0FE2BF}" dt="2023-11-12T17:31:50.310" v="3414" actId="478"/>
          <ac:spMkLst>
            <pc:docMk/>
            <pc:sldMk cId="3378124550" sldId="372"/>
            <ac:spMk id="3" creationId="{F2475919-EB90-A1DE-65A6-D13F384E083D}"/>
          </ac:spMkLst>
        </pc:spChg>
        <pc:spChg chg="del">
          <ac:chgData name="Stephanie Hammon" userId="2400f311-ffb8-4e42-955a-d9f87b6496df" providerId="ADAL" clId="{60214E0C-9560-4ACF-BEB1-A87B1F0FE2BF}" dt="2023-11-12T17:31:44.546" v="3412" actId="21"/>
          <ac:spMkLst>
            <pc:docMk/>
            <pc:sldMk cId="3378124550" sldId="372"/>
            <ac:spMk id="6" creationId="{2CD949F2-3600-9549-6B89-C98B9818B716}"/>
          </ac:spMkLst>
        </pc:spChg>
        <pc:spChg chg="del">
          <ac:chgData name="Stephanie Hammon" userId="2400f311-ffb8-4e42-955a-d9f87b6496df" providerId="ADAL" clId="{60214E0C-9560-4ACF-BEB1-A87B1F0FE2BF}" dt="2023-11-12T17:31:44.546" v="3412" actId="21"/>
          <ac:spMkLst>
            <pc:docMk/>
            <pc:sldMk cId="3378124550" sldId="372"/>
            <ac:spMk id="8" creationId="{469337E4-240A-3132-BF4A-0A1ED27F2FA1}"/>
          </ac:spMkLst>
        </pc:spChg>
        <pc:spChg chg="del">
          <ac:chgData name="Stephanie Hammon" userId="2400f311-ffb8-4e42-955a-d9f87b6496df" providerId="ADAL" clId="{60214E0C-9560-4ACF-BEB1-A87B1F0FE2BF}" dt="2023-11-12T17:31:44.546" v="3412" actId="21"/>
          <ac:spMkLst>
            <pc:docMk/>
            <pc:sldMk cId="3378124550" sldId="372"/>
            <ac:spMk id="10" creationId="{046C8056-A8E7-F10D-1B90-2E5E3D011B20}"/>
          </ac:spMkLst>
        </pc:spChg>
        <pc:spChg chg="del">
          <ac:chgData name="Stephanie Hammon" userId="2400f311-ffb8-4e42-955a-d9f87b6496df" providerId="ADAL" clId="{60214E0C-9560-4ACF-BEB1-A87B1F0FE2BF}" dt="2023-11-12T17:31:44.546" v="3412" actId="21"/>
          <ac:spMkLst>
            <pc:docMk/>
            <pc:sldMk cId="3378124550" sldId="372"/>
            <ac:spMk id="11" creationId="{FB11D28B-A4F9-C8B2-782D-D9E9D638B586}"/>
          </ac:spMkLst>
        </pc:spChg>
        <pc:spChg chg="add mod">
          <ac:chgData name="Stephanie Hammon" userId="2400f311-ffb8-4e42-955a-d9f87b6496df" providerId="ADAL" clId="{60214E0C-9560-4ACF-BEB1-A87B1F0FE2BF}" dt="2023-11-12T17:32:37.424" v="3464" actId="20577"/>
          <ac:spMkLst>
            <pc:docMk/>
            <pc:sldMk cId="3378124550" sldId="372"/>
            <ac:spMk id="14" creationId="{8F7F2831-DFBF-B075-D9DE-E39C3D4E3645}"/>
          </ac:spMkLst>
        </pc:spChg>
        <pc:spChg chg="add mod">
          <ac:chgData name="Stephanie Hammon" userId="2400f311-ffb8-4e42-955a-d9f87b6496df" providerId="ADAL" clId="{60214E0C-9560-4ACF-BEB1-A87B1F0FE2BF}" dt="2023-11-12T17:31:58.772" v="3417" actId="403"/>
          <ac:spMkLst>
            <pc:docMk/>
            <pc:sldMk cId="3378124550" sldId="372"/>
            <ac:spMk id="15" creationId="{DB7115B0-4597-E98A-C7E3-953A2AF57D48}"/>
          </ac:spMkLst>
        </pc:spChg>
        <pc:spChg chg="add mod">
          <ac:chgData name="Stephanie Hammon" userId="2400f311-ffb8-4e42-955a-d9f87b6496df" providerId="ADAL" clId="{60214E0C-9560-4ACF-BEB1-A87B1F0FE2BF}" dt="2023-11-12T17:33:17.578" v="3476" actId="1036"/>
          <ac:spMkLst>
            <pc:docMk/>
            <pc:sldMk cId="3378124550" sldId="372"/>
            <ac:spMk id="17" creationId="{27FDDB63-7285-34E7-75A7-A7F35A37179A}"/>
          </ac:spMkLst>
        </pc:spChg>
        <pc:spChg chg="add mod">
          <ac:chgData name="Stephanie Hammon" userId="2400f311-ffb8-4e42-955a-d9f87b6496df" providerId="ADAL" clId="{60214E0C-9560-4ACF-BEB1-A87B1F0FE2BF}" dt="2023-11-12T17:33:26.604" v="3478" actId="20577"/>
          <ac:spMkLst>
            <pc:docMk/>
            <pc:sldMk cId="3378124550" sldId="372"/>
            <ac:spMk id="18" creationId="{B209E2AB-6B7D-90A1-67AF-9635B81537EB}"/>
          </ac:spMkLst>
        </pc:spChg>
        <pc:picChg chg="del">
          <ac:chgData name="Stephanie Hammon" userId="2400f311-ffb8-4e42-955a-d9f87b6496df" providerId="ADAL" clId="{60214E0C-9560-4ACF-BEB1-A87B1F0FE2BF}" dt="2023-11-12T17:31:44.546" v="3412" actId="21"/>
          <ac:picMkLst>
            <pc:docMk/>
            <pc:sldMk cId="3378124550" sldId="372"/>
            <ac:picMk id="5" creationId="{6302786B-E222-9BF3-2452-96D7830BA691}"/>
          </ac:picMkLst>
        </pc:picChg>
        <pc:picChg chg="add mod">
          <ac:chgData name="Stephanie Hammon" userId="2400f311-ffb8-4e42-955a-d9f87b6496df" providerId="ADAL" clId="{60214E0C-9560-4ACF-BEB1-A87B1F0FE2BF}" dt="2023-11-12T17:32:59.328" v="3472" actId="1076"/>
          <ac:picMkLst>
            <pc:docMk/>
            <pc:sldMk cId="3378124550" sldId="372"/>
            <ac:picMk id="7" creationId="{0DD0507B-9B10-E40E-30B6-4E3EA1E0E614}"/>
          </ac:picMkLst>
        </pc:picChg>
        <pc:picChg chg="del">
          <ac:chgData name="Stephanie Hammon" userId="2400f311-ffb8-4e42-955a-d9f87b6496df" providerId="ADAL" clId="{60214E0C-9560-4ACF-BEB1-A87B1F0FE2BF}" dt="2023-11-12T17:31:44.546" v="3412" actId="21"/>
          <ac:picMkLst>
            <pc:docMk/>
            <pc:sldMk cId="3378124550" sldId="372"/>
            <ac:picMk id="9" creationId="{ADC52776-B3CA-9011-A053-7D4DD4B96C7C}"/>
          </ac:picMkLst>
        </pc:picChg>
        <pc:picChg chg="del">
          <ac:chgData name="Stephanie Hammon" userId="2400f311-ffb8-4e42-955a-d9f87b6496df" providerId="ADAL" clId="{60214E0C-9560-4ACF-BEB1-A87B1F0FE2BF}" dt="2023-11-12T17:31:44.546" v="3412" actId="21"/>
          <ac:picMkLst>
            <pc:docMk/>
            <pc:sldMk cId="3378124550" sldId="372"/>
            <ac:picMk id="12" creationId="{3A02D8A3-A060-B659-2764-394ED8D2491D}"/>
          </ac:picMkLst>
        </pc:picChg>
        <pc:picChg chg="del">
          <ac:chgData name="Stephanie Hammon" userId="2400f311-ffb8-4e42-955a-d9f87b6496df" providerId="ADAL" clId="{60214E0C-9560-4ACF-BEB1-A87B1F0FE2BF}" dt="2023-11-12T17:31:44.546" v="3412" actId="21"/>
          <ac:picMkLst>
            <pc:docMk/>
            <pc:sldMk cId="3378124550" sldId="372"/>
            <ac:picMk id="13" creationId="{B80967D9-05A3-2831-F908-F98C66092272}"/>
          </ac:picMkLst>
        </pc:picChg>
        <pc:picChg chg="add mod">
          <ac:chgData name="Stephanie Hammon" userId="2400f311-ffb8-4e42-955a-d9f87b6496df" providerId="ADAL" clId="{60214E0C-9560-4ACF-BEB1-A87B1F0FE2BF}" dt="2023-11-12T17:33:02.016" v="3473" actId="1076"/>
          <ac:picMkLst>
            <pc:docMk/>
            <pc:sldMk cId="3378124550" sldId="372"/>
            <ac:picMk id="16" creationId="{CD7B50FA-CBF4-6C16-5C12-6EDB331A584A}"/>
          </ac:picMkLst>
        </pc:picChg>
        <pc:picChg chg="add mod">
          <ac:chgData name="Stephanie Hammon" userId="2400f311-ffb8-4e42-955a-d9f87b6496df" providerId="ADAL" clId="{60214E0C-9560-4ACF-BEB1-A87B1F0FE2BF}" dt="2023-11-12T17:31:55.721" v="3415" actId="1076"/>
          <ac:picMkLst>
            <pc:docMk/>
            <pc:sldMk cId="3378124550" sldId="372"/>
            <ac:picMk id="19" creationId="{5A8DBF37-39C5-38BA-BF10-EB984DF8A821}"/>
          </ac:picMkLst>
        </pc:picChg>
        <pc:picChg chg="add mod">
          <ac:chgData name="Stephanie Hammon" userId="2400f311-ffb8-4e42-955a-d9f87b6496df" providerId="ADAL" clId="{60214E0C-9560-4ACF-BEB1-A87B1F0FE2BF}" dt="2023-11-12T17:31:55.721" v="3415" actId="1076"/>
          <ac:picMkLst>
            <pc:docMk/>
            <pc:sldMk cId="3378124550" sldId="372"/>
            <ac:picMk id="20" creationId="{8570E5BD-3635-11D6-5F6D-E97E4856544D}"/>
          </ac:picMkLst>
        </pc:picChg>
      </pc:sldChg>
      <pc:sldChg chg="delSp modSp add mod ord">
        <pc:chgData name="Stephanie Hammon" userId="2400f311-ffb8-4e42-955a-d9f87b6496df" providerId="ADAL" clId="{60214E0C-9560-4ACF-BEB1-A87B1F0FE2BF}" dt="2023-11-12T20:27:14.223" v="8774" actId="20577"/>
        <pc:sldMkLst>
          <pc:docMk/>
          <pc:sldMk cId="1148688305" sldId="373"/>
        </pc:sldMkLst>
        <pc:spChg chg="mod">
          <ac:chgData name="Stephanie Hammon" userId="2400f311-ffb8-4e42-955a-d9f87b6496df" providerId="ADAL" clId="{60214E0C-9560-4ACF-BEB1-A87B1F0FE2BF}" dt="2023-11-12T19:05:53.619" v="5697" actId="20577"/>
          <ac:spMkLst>
            <pc:docMk/>
            <pc:sldMk cId="1148688305" sldId="373"/>
            <ac:spMk id="2" creationId="{D4C43DD4-84AD-9684-92C8-53B1374287AC}"/>
          </ac:spMkLst>
        </pc:spChg>
        <pc:spChg chg="mod">
          <ac:chgData name="Stephanie Hammon" userId="2400f311-ffb8-4e42-955a-d9f87b6496df" providerId="ADAL" clId="{60214E0C-9560-4ACF-BEB1-A87B1F0FE2BF}" dt="2023-11-12T20:27:14.223" v="8774" actId="20577"/>
          <ac:spMkLst>
            <pc:docMk/>
            <pc:sldMk cId="1148688305" sldId="373"/>
            <ac:spMk id="3" creationId="{F2475919-EB90-A1DE-65A6-D13F384E083D}"/>
          </ac:spMkLst>
        </pc:spChg>
        <pc:spChg chg="del">
          <ac:chgData name="Stephanie Hammon" userId="2400f311-ffb8-4e42-955a-d9f87b6496df" providerId="ADAL" clId="{60214E0C-9560-4ACF-BEB1-A87B1F0FE2BF}" dt="2023-11-12T18:15:40.282" v="4028" actId="478"/>
          <ac:spMkLst>
            <pc:docMk/>
            <pc:sldMk cId="1148688305" sldId="373"/>
            <ac:spMk id="19" creationId="{013473A8-2A56-6F2B-7D27-BB2A807A80B2}"/>
          </ac:spMkLst>
        </pc:spChg>
        <pc:picChg chg="del">
          <ac:chgData name="Stephanie Hammon" userId="2400f311-ffb8-4e42-955a-d9f87b6496df" providerId="ADAL" clId="{60214E0C-9560-4ACF-BEB1-A87B1F0FE2BF}" dt="2023-11-12T18:16:01.908" v="4038" actId="478"/>
          <ac:picMkLst>
            <pc:docMk/>
            <pc:sldMk cId="1148688305" sldId="373"/>
            <ac:picMk id="7" creationId="{03E9C13B-EE0A-71A5-8C5E-1B315C7F8AED}"/>
          </ac:picMkLst>
        </pc:picChg>
        <pc:picChg chg="del">
          <ac:chgData name="Stephanie Hammon" userId="2400f311-ffb8-4e42-955a-d9f87b6496df" providerId="ADAL" clId="{60214E0C-9560-4ACF-BEB1-A87B1F0FE2BF}" dt="2023-11-12T18:15:38.666" v="4027" actId="478"/>
          <ac:picMkLst>
            <pc:docMk/>
            <pc:sldMk cId="1148688305" sldId="373"/>
            <ac:picMk id="20" creationId="{D0B7C3B6-BCD2-4B7D-36E0-E78DE087599E}"/>
          </ac:picMkLst>
        </pc:picChg>
      </pc:sldChg>
      <pc:sldChg chg="new del">
        <pc:chgData name="Stephanie Hammon" userId="2400f311-ffb8-4e42-955a-d9f87b6496df" providerId="ADAL" clId="{60214E0C-9560-4ACF-BEB1-A87B1F0FE2BF}" dt="2023-11-12T19:04:24.132" v="5681" actId="47"/>
        <pc:sldMkLst>
          <pc:docMk/>
          <pc:sldMk cId="377547029" sldId="374"/>
        </pc:sldMkLst>
      </pc:sldChg>
      <pc:sldChg chg="modSp add del mod">
        <pc:chgData name="Stephanie Hammon" userId="2400f311-ffb8-4e42-955a-d9f87b6496df" providerId="ADAL" clId="{60214E0C-9560-4ACF-BEB1-A87B1F0FE2BF}" dt="2023-11-12T21:54:25.301" v="11959" actId="47"/>
        <pc:sldMkLst>
          <pc:docMk/>
          <pc:sldMk cId="2811579000" sldId="374"/>
        </pc:sldMkLst>
        <pc:spChg chg="mod">
          <ac:chgData name="Stephanie Hammon" userId="2400f311-ffb8-4e42-955a-d9f87b6496df" providerId="ADAL" clId="{60214E0C-9560-4ACF-BEB1-A87B1F0FE2BF}" dt="2023-11-12T19:32:30.521" v="6376" actId="20577"/>
          <ac:spMkLst>
            <pc:docMk/>
            <pc:sldMk cId="2811579000" sldId="374"/>
            <ac:spMk id="2" creationId="{D4C43DD4-84AD-9684-92C8-53B1374287AC}"/>
          </ac:spMkLst>
        </pc:spChg>
        <pc:spChg chg="mod">
          <ac:chgData name="Stephanie Hammon" userId="2400f311-ffb8-4e42-955a-d9f87b6496df" providerId="ADAL" clId="{60214E0C-9560-4ACF-BEB1-A87B1F0FE2BF}" dt="2023-11-12T19:38:43.272" v="6777" actId="20577"/>
          <ac:spMkLst>
            <pc:docMk/>
            <pc:sldMk cId="2811579000" sldId="374"/>
            <ac:spMk id="3" creationId="{F2475919-EB90-A1DE-65A6-D13F384E083D}"/>
          </ac:spMkLst>
        </pc:spChg>
      </pc:sldChg>
      <pc:sldChg chg="add del">
        <pc:chgData name="Stephanie Hammon" userId="2400f311-ffb8-4e42-955a-d9f87b6496df" providerId="ADAL" clId="{60214E0C-9560-4ACF-BEB1-A87B1F0FE2BF}" dt="2023-11-12T19:07:01.510" v="5702" actId="47"/>
        <pc:sldMkLst>
          <pc:docMk/>
          <pc:sldMk cId="401324029" sldId="375"/>
        </pc:sldMkLst>
      </pc:sldChg>
      <pc:sldChg chg="addSp delSp modSp add del mod">
        <pc:chgData name="Stephanie Hammon" userId="2400f311-ffb8-4e42-955a-d9f87b6496df" providerId="ADAL" clId="{60214E0C-9560-4ACF-BEB1-A87B1F0FE2BF}" dt="2023-11-12T20:20:57.342" v="8463" actId="47"/>
        <pc:sldMkLst>
          <pc:docMk/>
          <pc:sldMk cId="3963088844" sldId="375"/>
        </pc:sldMkLst>
        <pc:spChg chg="mod">
          <ac:chgData name="Stephanie Hammon" userId="2400f311-ffb8-4e42-955a-d9f87b6496df" providerId="ADAL" clId="{60214E0C-9560-4ACF-BEB1-A87B1F0FE2BF}" dt="2023-11-12T20:14:47.170" v="8296" actId="20577"/>
          <ac:spMkLst>
            <pc:docMk/>
            <pc:sldMk cId="3963088844" sldId="375"/>
            <ac:spMk id="2" creationId="{D4C43DD4-84AD-9684-92C8-53B1374287AC}"/>
          </ac:spMkLst>
        </pc:spChg>
        <pc:spChg chg="mod">
          <ac:chgData name="Stephanie Hammon" userId="2400f311-ffb8-4e42-955a-d9f87b6496df" providerId="ADAL" clId="{60214E0C-9560-4ACF-BEB1-A87B1F0FE2BF}" dt="2023-11-12T20:13:29.779" v="8167" actId="6549"/>
          <ac:spMkLst>
            <pc:docMk/>
            <pc:sldMk cId="3963088844" sldId="375"/>
            <ac:spMk id="3" creationId="{F2475919-EB90-A1DE-65A6-D13F384E083D}"/>
          </ac:spMkLst>
        </pc:spChg>
        <pc:spChg chg="add del mod">
          <ac:chgData name="Stephanie Hammon" userId="2400f311-ffb8-4e42-955a-d9f87b6496df" providerId="ADAL" clId="{60214E0C-9560-4ACF-BEB1-A87B1F0FE2BF}" dt="2023-11-12T20:03:20.076" v="7833" actId="478"/>
          <ac:spMkLst>
            <pc:docMk/>
            <pc:sldMk cId="3963088844" sldId="375"/>
            <ac:spMk id="6" creationId="{101C8B9F-F5D1-3957-5B4A-EBDAF1AB612C}"/>
          </ac:spMkLst>
        </pc:spChg>
        <pc:spChg chg="add del mod">
          <ac:chgData name="Stephanie Hammon" userId="2400f311-ffb8-4e42-955a-d9f87b6496df" providerId="ADAL" clId="{60214E0C-9560-4ACF-BEB1-A87B1F0FE2BF}" dt="2023-11-12T20:13:31.608" v="8168" actId="478"/>
          <ac:spMkLst>
            <pc:docMk/>
            <pc:sldMk cId="3963088844" sldId="375"/>
            <ac:spMk id="7" creationId="{8BD9FC2A-F666-251C-2AEE-F47223A02B23}"/>
          </ac:spMkLst>
        </pc:spChg>
        <pc:spChg chg="add del mod">
          <ac:chgData name="Stephanie Hammon" userId="2400f311-ffb8-4e42-955a-d9f87b6496df" providerId="ADAL" clId="{60214E0C-9560-4ACF-BEB1-A87B1F0FE2BF}" dt="2023-11-12T20:13:47.187" v="8171" actId="478"/>
          <ac:spMkLst>
            <pc:docMk/>
            <pc:sldMk cId="3963088844" sldId="375"/>
            <ac:spMk id="8" creationId="{328D94DC-A1BD-BF1E-BB73-C4490CBA6AA4}"/>
          </ac:spMkLst>
        </pc:spChg>
        <pc:spChg chg="add mod">
          <ac:chgData name="Stephanie Hammon" userId="2400f311-ffb8-4e42-955a-d9f87b6496df" providerId="ADAL" clId="{60214E0C-9560-4ACF-BEB1-A87B1F0FE2BF}" dt="2023-11-12T20:20:09.531" v="8450" actId="21"/>
          <ac:spMkLst>
            <pc:docMk/>
            <pc:sldMk cId="3963088844" sldId="375"/>
            <ac:spMk id="9" creationId="{829BC299-A94F-E66E-0F2B-13B07835E28E}"/>
          </ac:spMkLst>
        </pc:spChg>
        <pc:picChg chg="add del mod">
          <ac:chgData name="Stephanie Hammon" userId="2400f311-ffb8-4e42-955a-d9f87b6496df" providerId="ADAL" clId="{60214E0C-9560-4ACF-BEB1-A87B1F0FE2BF}" dt="2023-11-12T20:13:32.832" v="8169" actId="478"/>
          <ac:picMkLst>
            <pc:docMk/>
            <pc:sldMk cId="3963088844" sldId="375"/>
            <ac:picMk id="5" creationId="{3F3B34FD-6000-7613-A72C-8F0C02EC82DB}"/>
          </ac:picMkLst>
        </pc:picChg>
      </pc:sldChg>
      <pc:sldChg chg="modSp add mod">
        <pc:chgData name="Stephanie Hammon" userId="2400f311-ffb8-4e42-955a-d9f87b6496df" providerId="ADAL" clId="{60214E0C-9560-4ACF-BEB1-A87B1F0FE2BF}" dt="2023-11-12T20:12:26.878" v="8165" actId="20577"/>
        <pc:sldMkLst>
          <pc:docMk/>
          <pc:sldMk cId="1018264411" sldId="376"/>
        </pc:sldMkLst>
        <pc:spChg chg="mod">
          <ac:chgData name="Stephanie Hammon" userId="2400f311-ffb8-4e42-955a-d9f87b6496df" providerId="ADAL" clId="{60214E0C-9560-4ACF-BEB1-A87B1F0FE2BF}" dt="2023-11-12T20:12:26.878" v="8165" actId="20577"/>
          <ac:spMkLst>
            <pc:docMk/>
            <pc:sldMk cId="1018264411" sldId="376"/>
            <ac:spMk id="3" creationId="{F2475919-EB90-A1DE-65A6-D13F384E083D}"/>
          </ac:spMkLst>
        </pc:spChg>
      </pc:sldChg>
      <pc:sldChg chg="modSp add mod">
        <pc:chgData name="Stephanie Hammon" userId="2400f311-ffb8-4e42-955a-d9f87b6496df" providerId="ADAL" clId="{60214E0C-9560-4ACF-BEB1-A87B1F0FE2BF}" dt="2023-11-12T20:20:54.964" v="8462" actId="1076"/>
        <pc:sldMkLst>
          <pc:docMk/>
          <pc:sldMk cId="1041133383" sldId="377"/>
        </pc:sldMkLst>
        <pc:spChg chg="mod">
          <ac:chgData name="Stephanie Hammon" userId="2400f311-ffb8-4e42-955a-d9f87b6496df" providerId="ADAL" clId="{60214E0C-9560-4ACF-BEB1-A87B1F0FE2BF}" dt="2023-11-12T20:20:44.847" v="8461" actId="948"/>
          <ac:spMkLst>
            <pc:docMk/>
            <pc:sldMk cId="1041133383" sldId="377"/>
            <ac:spMk id="3" creationId="{F2475919-EB90-A1DE-65A6-D13F384E083D}"/>
          </ac:spMkLst>
        </pc:spChg>
        <pc:spChg chg="mod">
          <ac:chgData name="Stephanie Hammon" userId="2400f311-ffb8-4e42-955a-d9f87b6496df" providerId="ADAL" clId="{60214E0C-9560-4ACF-BEB1-A87B1F0FE2BF}" dt="2023-11-12T20:20:54.964" v="8462" actId="1076"/>
          <ac:spMkLst>
            <pc:docMk/>
            <pc:sldMk cId="1041133383" sldId="377"/>
            <ac:spMk id="7" creationId="{8BD9FC2A-F666-251C-2AEE-F47223A02B23}"/>
          </ac:spMkLst>
        </pc:spChg>
        <pc:picChg chg="mod">
          <ac:chgData name="Stephanie Hammon" userId="2400f311-ffb8-4e42-955a-d9f87b6496df" providerId="ADAL" clId="{60214E0C-9560-4ACF-BEB1-A87B1F0FE2BF}" dt="2023-11-12T20:20:54.964" v="8462" actId="1076"/>
          <ac:picMkLst>
            <pc:docMk/>
            <pc:sldMk cId="1041133383" sldId="377"/>
            <ac:picMk id="5" creationId="{3F3B34FD-6000-7613-A72C-8F0C02EC82DB}"/>
          </ac:picMkLst>
        </pc:picChg>
      </pc:sldChg>
      <pc:sldChg chg="addSp delSp modSp new mod ord">
        <pc:chgData name="Stephanie Hammon" userId="2400f311-ffb8-4e42-955a-d9f87b6496df" providerId="ADAL" clId="{60214E0C-9560-4ACF-BEB1-A87B1F0FE2BF}" dt="2023-11-12T21:20:29.044" v="10865" actId="20577"/>
        <pc:sldMkLst>
          <pc:docMk/>
          <pc:sldMk cId="3857928760" sldId="378"/>
        </pc:sldMkLst>
        <pc:spChg chg="mod">
          <ac:chgData name="Stephanie Hammon" userId="2400f311-ffb8-4e42-955a-d9f87b6496df" providerId="ADAL" clId="{60214E0C-9560-4ACF-BEB1-A87B1F0FE2BF}" dt="2023-11-12T21:04:01.201" v="9682" actId="20577"/>
          <ac:spMkLst>
            <pc:docMk/>
            <pc:sldMk cId="3857928760" sldId="378"/>
            <ac:spMk id="2" creationId="{A48AA6A1-5CB0-18F1-1AC9-CC9CB06A3E99}"/>
          </ac:spMkLst>
        </pc:spChg>
        <pc:spChg chg="del">
          <ac:chgData name="Stephanie Hammon" userId="2400f311-ffb8-4e42-955a-d9f87b6496df" providerId="ADAL" clId="{60214E0C-9560-4ACF-BEB1-A87B1F0FE2BF}" dt="2023-11-12T20:50:58.727" v="9111" actId="478"/>
          <ac:spMkLst>
            <pc:docMk/>
            <pc:sldMk cId="3857928760" sldId="378"/>
            <ac:spMk id="4" creationId="{F877BC4F-2F12-5115-CE8D-093202031EE8}"/>
          </ac:spMkLst>
        </pc:spChg>
        <pc:graphicFrameChg chg="add mod modGraphic">
          <ac:chgData name="Stephanie Hammon" userId="2400f311-ffb8-4e42-955a-d9f87b6496df" providerId="ADAL" clId="{60214E0C-9560-4ACF-BEB1-A87B1F0FE2BF}" dt="2023-11-12T21:20:29.044" v="10865" actId="20577"/>
          <ac:graphicFrameMkLst>
            <pc:docMk/>
            <pc:sldMk cId="3857928760" sldId="378"/>
            <ac:graphicFrameMk id="5" creationId="{F7DE3CA3-0FE8-8458-B9D8-A1715149272B}"/>
          </ac:graphicFrameMkLst>
        </pc:graphicFrameChg>
      </pc:sldChg>
      <pc:sldChg chg="new del">
        <pc:chgData name="Stephanie Hammon" userId="2400f311-ffb8-4e42-955a-d9f87b6496df" providerId="ADAL" clId="{60214E0C-9560-4ACF-BEB1-A87B1F0FE2BF}" dt="2023-11-13T07:38:34.170" v="12061" actId="47"/>
        <pc:sldMkLst>
          <pc:docMk/>
          <pc:sldMk cId="2199554202" sldId="379"/>
        </pc:sldMkLst>
      </pc:sldChg>
      <pc:sldChg chg="addSp modSp add mod ord">
        <pc:chgData name="Stephanie Hammon" userId="2400f311-ffb8-4e42-955a-d9f87b6496df" providerId="ADAL" clId="{60214E0C-9560-4ACF-BEB1-A87B1F0FE2BF}" dt="2023-11-13T07:43:58.769" v="12124" actId="20577"/>
        <pc:sldMkLst>
          <pc:docMk/>
          <pc:sldMk cId="2764081299" sldId="379"/>
        </pc:sldMkLst>
        <pc:spChg chg="mod">
          <ac:chgData name="Stephanie Hammon" userId="2400f311-ffb8-4e42-955a-d9f87b6496df" providerId="ADAL" clId="{60214E0C-9560-4ACF-BEB1-A87B1F0FE2BF}" dt="2023-11-13T07:43:58.769" v="12124" actId="20577"/>
          <ac:spMkLst>
            <pc:docMk/>
            <pc:sldMk cId="2764081299" sldId="379"/>
            <ac:spMk id="2" creationId="{D4E8A39B-1DB7-13B2-D3A0-766CFDC8A638}"/>
          </ac:spMkLst>
        </pc:spChg>
        <pc:spChg chg="add mod">
          <ac:chgData name="Stephanie Hammon" userId="2400f311-ffb8-4e42-955a-d9f87b6496df" providerId="ADAL" clId="{60214E0C-9560-4ACF-BEB1-A87B1F0FE2BF}" dt="2023-11-13T07:43:31.350" v="12105" actId="1076"/>
          <ac:spMkLst>
            <pc:docMk/>
            <pc:sldMk cId="2764081299" sldId="379"/>
            <ac:spMk id="4" creationId="{C299AC2B-E19D-121E-6953-D0425F256D46}"/>
          </ac:spMkLst>
        </pc:spChg>
        <pc:spChg chg="mod">
          <ac:chgData name="Stephanie Hammon" userId="2400f311-ffb8-4e42-955a-d9f87b6496df" providerId="ADAL" clId="{60214E0C-9560-4ACF-BEB1-A87B1F0FE2BF}" dt="2023-11-13T07:39:28.736" v="12091" actId="207"/>
          <ac:spMkLst>
            <pc:docMk/>
            <pc:sldMk cId="2764081299" sldId="379"/>
            <ac:spMk id="9" creationId="{2F9F1232-2261-9E99-3844-7607C04A3B71}"/>
          </ac:spMkLst>
        </pc:spChg>
      </pc:sldChg>
      <pc:sldMasterChg chg="delSldLayout">
        <pc:chgData name="Stephanie Hammon" userId="2400f311-ffb8-4e42-955a-d9f87b6496df" providerId="ADAL" clId="{60214E0C-9560-4ACF-BEB1-A87B1F0FE2BF}" dt="2023-11-12T17:56:33.297" v="3977" actId="2696"/>
        <pc:sldMasterMkLst>
          <pc:docMk/>
          <pc:sldMasterMk cId="3289602679" sldId="2147483820"/>
        </pc:sldMasterMkLst>
        <pc:sldLayoutChg chg="del">
          <pc:chgData name="Stephanie Hammon" userId="2400f311-ffb8-4e42-955a-d9f87b6496df" providerId="ADAL" clId="{60214E0C-9560-4ACF-BEB1-A87B1F0FE2BF}" dt="2023-11-12T17:56:33.297" v="3977" actId="2696"/>
          <pc:sldLayoutMkLst>
            <pc:docMk/>
            <pc:sldMasterMk cId="3289602679" sldId="2147483820"/>
            <pc:sldLayoutMk cId="3573424053" sldId="2147483797"/>
          </pc:sldLayoutMkLst>
        </pc:sldLayoutChg>
      </pc:sldMasterChg>
    </pc:docChg>
  </pc:docChgLst>
  <pc:docChgLst>
    <pc:chgData name="Stephanie Hammon" userId="2400f311-ffb8-4e42-955a-d9f87b6496df" providerId="ADAL" clId="{750AA731-4CB3-4EA2-94A3-5244547374B3}"/>
    <pc:docChg chg="undo custSel addSld delSld modSld delSection modSection">
      <pc:chgData name="Stephanie Hammon" userId="2400f311-ffb8-4e42-955a-d9f87b6496df" providerId="ADAL" clId="{750AA731-4CB3-4EA2-94A3-5244547374B3}" dt="2023-12-15T15:22:51.358" v="783" actId="17851"/>
      <pc:docMkLst>
        <pc:docMk/>
      </pc:docMkLst>
      <pc:sldChg chg="addSp delSp modSp mod">
        <pc:chgData name="Stephanie Hammon" userId="2400f311-ffb8-4e42-955a-d9f87b6496df" providerId="ADAL" clId="{750AA731-4CB3-4EA2-94A3-5244547374B3}" dt="2023-12-15T15:19:53.470" v="769" actId="1076"/>
        <pc:sldMkLst>
          <pc:docMk/>
          <pc:sldMk cId="2339000136" sldId="339"/>
        </pc:sldMkLst>
        <pc:spChg chg="mod">
          <ac:chgData name="Stephanie Hammon" userId="2400f311-ffb8-4e42-955a-d9f87b6496df" providerId="ADAL" clId="{750AA731-4CB3-4EA2-94A3-5244547374B3}" dt="2023-12-15T15:19:51.408" v="768" actId="1076"/>
          <ac:spMkLst>
            <pc:docMk/>
            <pc:sldMk cId="2339000136" sldId="339"/>
            <ac:spMk id="6" creationId="{A8BA62BD-0EF8-FD43-B12F-8AEB4020E785}"/>
          </ac:spMkLst>
        </pc:spChg>
        <pc:spChg chg="del mod">
          <ac:chgData name="Stephanie Hammon" userId="2400f311-ffb8-4e42-955a-d9f87b6496df" providerId="ADAL" clId="{750AA731-4CB3-4EA2-94A3-5244547374B3}" dt="2023-12-15T15:19:26.519" v="752" actId="478"/>
          <ac:spMkLst>
            <pc:docMk/>
            <pc:sldMk cId="2339000136" sldId="339"/>
            <ac:spMk id="9" creationId="{DADC1954-83DC-D841-AEF3-6B91FF2093C1}"/>
          </ac:spMkLst>
        </pc:spChg>
        <pc:spChg chg="add del mod">
          <ac:chgData name="Stephanie Hammon" userId="2400f311-ffb8-4e42-955a-d9f87b6496df" providerId="ADAL" clId="{750AA731-4CB3-4EA2-94A3-5244547374B3}" dt="2023-12-15T15:19:53.470" v="769" actId="1076"/>
          <ac:spMkLst>
            <pc:docMk/>
            <pc:sldMk cId="2339000136" sldId="339"/>
            <ac:spMk id="10" creationId="{8A5A920C-6BE8-8647-AEF2-7D6072E24A93}"/>
          </ac:spMkLst>
        </pc:spChg>
        <pc:graphicFrameChg chg="add del mod">
          <ac:chgData name="Stephanie Hammon" userId="2400f311-ffb8-4e42-955a-d9f87b6496df" providerId="ADAL" clId="{750AA731-4CB3-4EA2-94A3-5244547374B3}" dt="2023-12-15T15:19:33.995" v="755"/>
          <ac:graphicFrameMkLst>
            <pc:docMk/>
            <pc:sldMk cId="2339000136" sldId="339"/>
            <ac:graphicFrameMk id="3" creationId="{9C66A2DE-B3FC-EFB5-6FF8-89176AAC1BC8}"/>
          </ac:graphicFrameMkLst>
        </pc:graphicFrameChg>
        <pc:picChg chg="add del mod">
          <ac:chgData name="Stephanie Hammon" userId="2400f311-ffb8-4e42-955a-d9f87b6496df" providerId="ADAL" clId="{750AA731-4CB3-4EA2-94A3-5244547374B3}" dt="2023-12-15T15:19:33.995" v="755"/>
          <ac:picMkLst>
            <pc:docMk/>
            <pc:sldMk cId="2339000136" sldId="339"/>
            <ac:picMk id="5" creationId="{07332896-7A58-113D-4900-39FE742B8F82}"/>
          </ac:picMkLst>
        </pc:picChg>
      </pc:sldChg>
      <pc:sldChg chg="modSp mod">
        <pc:chgData name="Stephanie Hammon" userId="2400f311-ffb8-4e42-955a-d9f87b6496df" providerId="ADAL" clId="{750AA731-4CB3-4EA2-94A3-5244547374B3}" dt="2023-12-15T14:42:36.676" v="21" actId="20577"/>
        <pc:sldMkLst>
          <pc:docMk/>
          <pc:sldMk cId="3741072769" sldId="347"/>
        </pc:sldMkLst>
        <pc:spChg chg="mod">
          <ac:chgData name="Stephanie Hammon" userId="2400f311-ffb8-4e42-955a-d9f87b6496df" providerId="ADAL" clId="{750AA731-4CB3-4EA2-94A3-5244547374B3}" dt="2023-12-15T14:42:36.676" v="21" actId="20577"/>
          <ac:spMkLst>
            <pc:docMk/>
            <pc:sldMk cId="3741072769" sldId="347"/>
            <ac:spMk id="2" creationId="{6E1811A0-B06E-A546-A365-5D01F64B0AF6}"/>
          </ac:spMkLst>
        </pc:spChg>
      </pc:sldChg>
      <pc:sldChg chg="delSp modSp mod">
        <pc:chgData name="Stephanie Hammon" userId="2400f311-ffb8-4e42-955a-d9f87b6496df" providerId="ADAL" clId="{750AA731-4CB3-4EA2-94A3-5244547374B3}" dt="2023-12-15T14:50:44.746" v="697" actId="20577"/>
        <pc:sldMkLst>
          <pc:docMk/>
          <pc:sldMk cId="3265964388" sldId="362"/>
        </pc:sldMkLst>
        <pc:spChg chg="mod">
          <ac:chgData name="Stephanie Hammon" userId="2400f311-ffb8-4e42-955a-d9f87b6496df" providerId="ADAL" clId="{750AA731-4CB3-4EA2-94A3-5244547374B3}" dt="2023-12-15T14:49:41.326" v="562" actId="6549"/>
          <ac:spMkLst>
            <pc:docMk/>
            <pc:sldMk cId="3265964388" sldId="362"/>
            <ac:spMk id="2" creationId="{C55FCED6-9D9B-32E8-F6D4-DBC50E13117C}"/>
          </ac:spMkLst>
        </pc:spChg>
        <pc:spChg chg="mod">
          <ac:chgData name="Stephanie Hammon" userId="2400f311-ffb8-4e42-955a-d9f87b6496df" providerId="ADAL" clId="{750AA731-4CB3-4EA2-94A3-5244547374B3}" dt="2023-12-15T14:50:44.746" v="697" actId="20577"/>
          <ac:spMkLst>
            <pc:docMk/>
            <pc:sldMk cId="3265964388" sldId="362"/>
            <ac:spMk id="3" creationId="{D60C4C43-8750-9063-5258-8830D7DE9B53}"/>
          </ac:spMkLst>
        </pc:spChg>
        <pc:spChg chg="del mod">
          <ac:chgData name="Stephanie Hammon" userId="2400f311-ffb8-4e42-955a-d9f87b6496df" providerId="ADAL" clId="{750AA731-4CB3-4EA2-94A3-5244547374B3}" dt="2023-12-15T14:45:46.329" v="75"/>
          <ac:spMkLst>
            <pc:docMk/>
            <pc:sldMk cId="3265964388" sldId="362"/>
            <ac:spMk id="5" creationId="{0884731B-82C8-D0B5-E252-5907FC65F186}"/>
          </ac:spMkLst>
        </pc:spChg>
      </pc:sldChg>
      <pc:sldChg chg="addSp delSp modSp mod">
        <pc:chgData name="Stephanie Hammon" userId="2400f311-ffb8-4e42-955a-d9f87b6496df" providerId="ADAL" clId="{750AA731-4CB3-4EA2-94A3-5244547374B3}" dt="2023-12-15T14:44:08.418" v="74" actId="1076"/>
        <pc:sldMkLst>
          <pc:docMk/>
          <pc:sldMk cId="310306656" sldId="363"/>
        </pc:sldMkLst>
        <pc:spChg chg="mod">
          <ac:chgData name="Stephanie Hammon" userId="2400f311-ffb8-4e42-955a-d9f87b6496df" providerId="ADAL" clId="{750AA731-4CB3-4EA2-94A3-5244547374B3}" dt="2023-12-15T14:44:08.418" v="74" actId="1076"/>
          <ac:spMkLst>
            <pc:docMk/>
            <pc:sldMk cId="310306656" sldId="363"/>
            <ac:spMk id="2" creationId="{6E1811A0-B06E-A546-A365-5D01F64B0AF6}"/>
          </ac:spMkLst>
        </pc:spChg>
        <pc:spChg chg="add del mod">
          <ac:chgData name="Stephanie Hammon" userId="2400f311-ffb8-4e42-955a-d9f87b6496df" providerId="ADAL" clId="{750AA731-4CB3-4EA2-94A3-5244547374B3}" dt="2023-12-15T14:43:35.017" v="60" actId="478"/>
          <ac:spMkLst>
            <pc:docMk/>
            <pc:sldMk cId="310306656" sldId="363"/>
            <ac:spMk id="3" creationId="{0659008F-99EE-990E-5365-9BF0589240BA}"/>
          </ac:spMkLst>
        </pc:spChg>
      </pc:sldChg>
      <pc:sldChg chg="modSp del mod">
        <pc:chgData name="Stephanie Hammon" userId="2400f311-ffb8-4e42-955a-d9f87b6496df" providerId="ADAL" clId="{750AA731-4CB3-4EA2-94A3-5244547374B3}" dt="2023-12-15T15:22:07.564" v="771" actId="47"/>
        <pc:sldMkLst>
          <pc:docMk/>
          <pc:sldMk cId="3354665059" sldId="364"/>
        </pc:sldMkLst>
        <pc:spChg chg="mod">
          <ac:chgData name="Stephanie Hammon" userId="2400f311-ffb8-4e42-955a-d9f87b6496df" providerId="ADAL" clId="{750AA731-4CB3-4EA2-94A3-5244547374B3}" dt="2023-12-15T14:52:26.221" v="707" actId="20577"/>
          <ac:spMkLst>
            <pc:docMk/>
            <pc:sldMk cId="3354665059" sldId="364"/>
            <ac:spMk id="2" creationId="{6E1811A0-B06E-A546-A365-5D01F64B0AF6}"/>
          </ac:spMkLst>
        </pc:spChg>
      </pc:sldChg>
      <pc:sldChg chg="del">
        <pc:chgData name="Stephanie Hammon" userId="2400f311-ffb8-4e42-955a-d9f87b6496df" providerId="ADAL" clId="{750AA731-4CB3-4EA2-94A3-5244547374B3}" dt="2023-12-15T15:22:08.291" v="772" actId="47"/>
        <pc:sldMkLst>
          <pc:docMk/>
          <pc:sldMk cId="2478982633" sldId="365"/>
        </pc:sldMkLst>
      </pc:sldChg>
      <pc:sldChg chg="del">
        <pc:chgData name="Stephanie Hammon" userId="2400f311-ffb8-4e42-955a-d9f87b6496df" providerId="ADAL" clId="{750AA731-4CB3-4EA2-94A3-5244547374B3}" dt="2023-12-15T15:22:09.711" v="773" actId="47"/>
        <pc:sldMkLst>
          <pc:docMk/>
          <pc:sldMk cId="10180602" sldId="366"/>
        </pc:sldMkLst>
      </pc:sldChg>
      <pc:sldChg chg="del">
        <pc:chgData name="Stephanie Hammon" userId="2400f311-ffb8-4e42-955a-d9f87b6496df" providerId="ADAL" clId="{750AA731-4CB3-4EA2-94A3-5244547374B3}" dt="2023-12-15T15:22:10.636" v="774" actId="47"/>
        <pc:sldMkLst>
          <pc:docMk/>
          <pc:sldMk cId="664237425" sldId="367"/>
        </pc:sldMkLst>
      </pc:sldChg>
      <pc:sldChg chg="del">
        <pc:chgData name="Stephanie Hammon" userId="2400f311-ffb8-4e42-955a-d9f87b6496df" providerId="ADAL" clId="{750AA731-4CB3-4EA2-94A3-5244547374B3}" dt="2023-12-15T15:22:11.578" v="775" actId="47"/>
        <pc:sldMkLst>
          <pc:docMk/>
          <pc:sldMk cId="458505242" sldId="368"/>
        </pc:sldMkLst>
      </pc:sldChg>
      <pc:sldChg chg="del">
        <pc:chgData name="Stephanie Hammon" userId="2400f311-ffb8-4e42-955a-d9f87b6496df" providerId="ADAL" clId="{750AA731-4CB3-4EA2-94A3-5244547374B3}" dt="2023-12-15T15:22:12.635" v="776" actId="47"/>
        <pc:sldMkLst>
          <pc:docMk/>
          <pc:sldMk cId="118829625" sldId="369"/>
        </pc:sldMkLst>
      </pc:sldChg>
      <pc:sldChg chg="del">
        <pc:chgData name="Stephanie Hammon" userId="2400f311-ffb8-4e42-955a-d9f87b6496df" providerId="ADAL" clId="{750AA731-4CB3-4EA2-94A3-5244547374B3}" dt="2023-12-15T15:22:13.490" v="777" actId="47"/>
        <pc:sldMkLst>
          <pc:docMk/>
          <pc:sldMk cId="4238625450" sldId="370"/>
        </pc:sldMkLst>
      </pc:sldChg>
      <pc:sldChg chg="modSp mod">
        <pc:chgData name="Stephanie Hammon" userId="2400f311-ffb8-4e42-955a-d9f87b6496df" providerId="ADAL" clId="{750AA731-4CB3-4EA2-94A3-5244547374B3}" dt="2023-12-15T14:49:30.476" v="561" actId="20577"/>
        <pc:sldMkLst>
          <pc:docMk/>
          <pc:sldMk cId="2421662167" sldId="380"/>
        </pc:sldMkLst>
        <pc:spChg chg="mod">
          <ac:chgData name="Stephanie Hammon" userId="2400f311-ffb8-4e42-955a-d9f87b6496df" providerId="ADAL" clId="{750AA731-4CB3-4EA2-94A3-5244547374B3}" dt="2023-12-15T14:46:27.797" v="120" actId="20577"/>
          <ac:spMkLst>
            <pc:docMk/>
            <pc:sldMk cId="2421662167" sldId="380"/>
            <ac:spMk id="2" creationId="{C55FCED6-9D9B-32E8-F6D4-DBC50E13117C}"/>
          </ac:spMkLst>
        </pc:spChg>
        <pc:spChg chg="mod">
          <ac:chgData name="Stephanie Hammon" userId="2400f311-ffb8-4e42-955a-d9f87b6496df" providerId="ADAL" clId="{750AA731-4CB3-4EA2-94A3-5244547374B3}" dt="2023-12-15T14:49:09.618" v="522" actId="6549"/>
          <ac:spMkLst>
            <pc:docMk/>
            <pc:sldMk cId="2421662167" sldId="380"/>
            <ac:spMk id="25" creationId="{00B8CA92-EC41-41D0-BA71-F1472839942A}"/>
          </ac:spMkLst>
        </pc:spChg>
        <pc:spChg chg="mod">
          <ac:chgData name="Stephanie Hammon" userId="2400f311-ffb8-4e42-955a-d9f87b6496df" providerId="ADAL" clId="{750AA731-4CB3-4EA2-94A3-5244547374B3}" dt="2023-12-15T14:49:30.476" v="561" actId="20577"/>
          <ac:spMkLst>
            <pc:docMk/>
            <pc:sldMk cId="2421662167" sldId="380"/>
            <ac:spMk id="26" creationId="{E63B3C3F-C20B-45DE-9BAF-A1E59CE45AD8}"/>
          </ac:spMkLst>
        </pc:spChg>
        <pc:spChg chg="mod">
          <ac:chgData name="Stephanie Hammon" userId="2400f311-ffb8-4e42-955a-d9f87b6496df" providerId="ADAL" clId="{750AA731-4CB3-4EA2-94A3-5244547374B3}" dt="2023-12-15T14:49:16.705" v="545" actId="20577"/>
          <ac:spMkLst>
            <pc:docMk/>
            <pc:sldMk cId="2421662167" sldId="380"/>
            <ac:spMk id="27" creationId="{7005A085-0DA3-43FB-ADFC-62B8F8F8FAB2}"/>
          </ac:spMkLst>
        </pc:spChg>
        <pc:spChg chg="mod">
          <ac:chgData name="Stephanie Hammon" userId="2400f311-ffb8-4e42-955a-d9f87b6496df" providerId="ADAL" clId="{750AA731-4CB3-4EA2-94A3-5244547374B3}" dt="2023-12-15T14:46:33.711" v="123" actId="20577"/>
          <ac:spMkLst>
            <pc:docMk/>
            <pc:sldMk cId="2421662167" sldId="380"/>
            <ac:spMk id="29" creationId="{70FC2ED5-7B9B-4861-9403-F7259F4E93BB}"/>
          </ac:spMkLst>
        </pc:spChg>
        <pc:spChg chg="mod">
          <ac:chgData name="Stephanie Hammon" userId="2400f311-ffb8-4e42-955a-d9f87b6496df" providerId="ADAL" clId="{750AA731-4CB3-4EA2-94A3-5244547374B3}" dt="2023-12-15T14:46:39.134" v="127" actId="20577"/>
          <ac:spMkLst>
            <pc:docMk/>
            <pc:sldMk cId="2421662167" sldId="380"/>
            <ac:spMk id="31" creationId="{1DE1E32F-90C7-41EE-9B18-7998706DBCAD}"/>
          </ac:spMkLst>
        </pc:spChg>
        <pc:spChg chg="mod">
          <ac:chgData name="Stephanie Hammon" userId="2400f311-ffb8-4e42-955a-d9f87b6496df" providerId="ADAL" clId="{750AA731-4CB3-4EA2-94A3-5244547374B3}" dt="2023-12-15T14:46:45.796" v="138" actId="20577"/>
          <ac:spMkLst>
            <pc:docMk/>
            <pc:sldMk cId="2421662167" sldId="380"/>
            <ac:spMk id="33" creationId="{3D039D53-7577-45B0-BB7E-D6F2F9D356BF}"/>
          </ac:spMkLst>
        </pc:spChg>
        <pc:grpChg chg="mod">
          <ac:chgData name="Stephanie Hammon" userId="2400f311-ffb8-4e42-955a-d9f87b6496df" providerId="ADAL" clId="{750AA731-4CB3-4EA2-94A3-5244547374B3}" dt="2023-12-15T14:47:54.863" v="346" actId="1076"/>
          <ac:grpSpMkLst>
            <pc:docMk/>
            <pc:sldMk cId="2421662167" sldId="380"/>
            <ac:grpSpMk id="11" creationId="{F979B36F-4908-2403-9110-0586091A4FE7}"/>
          </ac:grpSpMkLst>
        </pc:grpChg>
      </pc:sldChg>
      <pc:sldChg chg="delSp add del mod">
        <pc:chgData name="Stephanie Hammon" userId="2400f311-ffb8-4e42-955a-d9f87b6496df" providerId="ADAL" clId="{750AA731-4CB3-4EA2-94A3-5244547374B3}" dt="2023-12-15T15:22:25.932" v="781" actId="47"/>
        <pc:sldMkLst>
          <pc:docMk/>
          <pc:sldMk cId="320145109" sldId="381"/>
        </pc:sldMkLst>
        <pc:picChg chg="del">
          <ac:chgData name="Stephanie Hammon" userId="2400f311-ffb8-4e42-955a-d9f87b6496df" providerId="ADAL" clId="{750AA731-4CB3-4EA2-94A3-5244547374B3}" dt="2023-12-15T15:22:20.420" v="778" actId="21"/>
          <ac:picMkLst>
            <pc:docMk/>
            <pc:sldMk cId="320145109" sldId="381"/>
            <ac:picMk id="5" creationId="{9216E116-3F1A-5C43-A770-4CD1176E9094}"/>
          </ac:picMkLst>
        </pc:picChg>
      </pc:sldChg>
      <pc:sldChg chg="addSp modSp add mod">
        <pc:chgData name="Stephanie Hammon" userId="2400f311-ffb8-4e42-955a-d9f87b6496df" providerId="ADAL" clId="{750AA731-4CB3-4EA2-94A3-5244547374B3}" dt="2023-12-15T15:22:24.317" v="780" actId="1076"/>
        <pc:sldMkLst>
          <pc:docMk/>
          <pc:sldMk cId="809440020" sldId="382"/>
        </pc:sldMkLst>
        <pc:picChg chg="add mod">
          <ac:chgData name="Stephanie Hammon" userId="2400f311-ffb8-4e42-955a-d9f87b6496df" providerId="ADAL" clId="{750AA731-4CB3-4EA2-94A3-5244547374B3}" dt="2023-12-15T15:22:24.317" v="780" actId="1076"/>
          <ac:picMkLst>
            <pc:docMk/>
            <pc:sldMk cId="809440020" sldId="382"/>
            <ac:picMk id="3" creationId="{1E805EAC-9333-38F4-62C2-3B7A8278C381}"/>
          </ac:picMkLst>
        </pc:picChg>
      </pc:sldChg>
      <pc:sldChg chg="add">
        <pc:chgData name="Stephanie Hammon" userId="2400f311-ffb8-4e42-955a-d9f87b6496df" providerId="ADAL" clId="{750AA731-4CB3-4EA2-94A3-5244547374B3}" dt="2023-12-15T15:22:43.372" v="782"/>
        <pc:sldMkLst>
          <pc:docMk/>
          <pc:sldMk cId="1085048476" sldId="383"/>
        </pc:sldMkLst>
      </pc:sldChg>
      <pc:sldMasterChg chg="delSldLayout">
        <pc:chgData name="Stephanie Hammon" userId="2400f311-ffb8-4e42-955a-d9f87b6496df" providerId="ADAL" clId="{750AA731-4CB3-4EA2-94A3-5244547374B3}" dt="2023-12-15T15:22:25.932" v="781" actId="47"/>
        <pc:sldMasterMkLst>
          <pc:docMk/>
          <pc:sldMasterMk cId="3055958341" sldId="2147483820"/>
        </pc:sldMasterMkLst>
        <pc:sldLayoutChg chg="del">
          <pc:chgData name="Stephanie Hammon" userId="2400f311-ffb8-4e42-955a-d9f87b6496df" providerId="ADAL" clId="{750AA731-4CB3-4EA2-94A3-5244547374B3}" dt="2023-12-15T15:22:25.932" v="781" actId="47"/>
          <pc:sldLayoutMkLst>
            <pc:docMk/>
            <pc:sldMasterMk cId="3055958341" sldId="2147483820"/>
            <pc:sldLayoutMk cId="4257953478" sldId="2147483835"/>
          </pc:sldLayoutMkLst>
        </pc:sldLayoutChg>
      </pc:sldMasterChg>
    </pc:docChg>
  </pc:docChgLst>
  <pc:docChgLst>
    <pc:chgData name="Martina Kessler" userId="dc38a47a-e6db-4d2d-a6d1-43e68cd7c0ad" providerId="ADAL" clId="{38159CE1-47A6-4B89-84A6-F0B02FCFD7EC}"/>
    <pc:docChg chg="modSld">
      <pc:chgData name="Martina Kessler" userId="dc38a47a-e6db-4d2d-a6d1-43e68cd7c0ad" providerId="ADAL" clId="{38159CE1-47A6-4B89-84A6-F0B02FCFD7EC}" dt="2023-11-13T13:14:32.091" v="5"/>
      <pc:docMkLst>
        <pc:docMk/>
      </pc:docMkLst>
      <pc:sldChg chg="addCm">
        <pc:chgData name="Martina Kessler" userId="dc38a47a-e6db-4d2d-a6d1-43e68cd7c0ad" providerId="ADAL" clId="{38159CE1-47A6-4B89-84A6-F0B02FCFD7EC}" dt="2023-11-13T09:37:52.897" v="2"/>
        <pc:sldMkLst>
          <pc:docMk/>
          <pc:sldMk cId="3694267384" sldId="3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artina Kessler" userId="dc38a47a-e6db-4d2d-a6d1-43e68cd7c0ad" providerId="ADAL" clId="{38159CE1-47A6-4B89-84A6-F0B02FCFD7EC}" dt="2023-11-13T09:37:52.897" v="2"/>
              <pc2:cmMkLst xmlns:pc2="http://schemas.microsoft.com/office/powerpoint/2019/9/main/command">
                <pc:docMk/>
                <pc:sldMk cId="3694267384" sldId="344"/>
                <pc2:cmMk id="{D208FF55-A0A4-48E4-9A8C-3FB586B464B8}"/>
              </pc2:cmMkLst>
            </pc226:cmChg>
            <pc226:cmChg xmlns:pc226="http://schemas.microsoft.com/office/powerpoint/2022/06/main/command" chg="add">
              <pc226:chgData name="Martina Kessler" userId="dc38a47a-e6db-4d2d-a6d1-43e68cd7c0ad" providerId="ADAL" clId="{38159CE1-47A6-4B89-84A6-F0B02FCFD7EC}" dt="2023-11-13T09:37:23.539" v="1"/>
              <pc2:cmMkLst xmlns:pc2="http://schemas.microsoft.com/office/powerpoint/2019/9/main/command">
                <pc:docMk/>
                <pc:sldMk cId="3694267384" sldId="344"/>
                <pc2:cmMk id="{602C32F8-F875-4813-9D68-6813D00C1E06}"/>
              </pc2:cmMkLst>
            </pc226:cmChg>
          </p:ext>
        </pc:extLst>
      </pc:sldChg>
      <pc:sldChg chg="addCm">
        <pc:chgData name="Martina Kessler" userId="dc38a47a-e6db-4d2d-a6d1-43e68cd7c0ad" providerId="ADAL" clId="{38159CE1-47A6-4B89-84A6-F0B02FCFD7EC}" dt="2023-11-13T09:34:44.388" v="0"/>
        <pc:sldMkLst>
          <pc:docMk/>
          <pc:sldMk cId="901108566" sldId="35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artina Kessler" userId="dc38a47a-e6db-4d2d-a6d1-43e68cd7c0ad" providerId="ADAL" clId="{38159CE1-47A6-4B89-84A6-F0B02FCFD7EC}" dt="2023-11-13T09:34:44.388" v="0"/>
              <pc2:cmMkLst xmlns:pc2="http://schemas.microsoft.com/office/powerpoint/2019/9/main/command">
                <pc:docMk/>
                <pc:sldMk cId="901108566" sldId="352"/>
                <pc2:cmMk id="{604E0E78-B1F8-4C3E-B6DE-700C53C22489}"/>
              </pc2:cmMkLst>
            </pc226:cmChg>
          </p:ext>
        </pc:extLst>
      </pc:sldChg>
      <pc:sldChg chg="modSp mod addCm">
        <pc:chgData name="Martina Kessler" userId="dc38a47a-e6db-4d2d-a6d1-43e68cd7c0ad" providerId="ADAL" clId="{38159CE1-47A6-4B89-84A6-F0B02FCFD7EC}" dt="2023-11-13T13:14:32.091" v="5"/>
        <pc:sldMkLst>
          <pc:docMk/>
          <pc:sldMk cId="1041133383" sldId="377"/>
        </pc:sldMkLst>
        <pc:spChg chg="mod">
          <ac:chgData name="Martina Kessler" userId="dc38a47a-e6db-4d2d-a6d1-43e68cd7c0ad" providerId="ADAL" clId="{38159CE1-47A6-4B89-84A6-F0B02FCFD7EC}" dt="2023-11-13T09:42:26.490" v="3" actId="108"/>
          <ac:spMkLst>
            <pc:docMk/>
            <pc:sldMk cId="1041133383" sldId="377"/>
            <ac:spMk id="7" creationId="{8BD9FC2A-F666-251C-2AEE-F47223A02B2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artina Kessler" userId="dc38a47a-e6db-4d2d-a6d1-43e68cd7c0ad" providerId="ADAL" clId="{38159CE1-47A6-4B89-84A6-F0B02FCFD7EC}" dt="2023-11-13T13:14:32.091" v="5"/>
              <pc2:cmMkLst xmlns:pc2="http://schemas.microsoft.com/office/powerpoint/2019/9/main/command">
                <pc:docMk/>
                <pc:sldMk cId="1041133383" sldId="377"/>
                <pc2:cmMk id="{F0EF7357-760D-4711-AC7A-855AAC7047FD}"/>
              </pc2:cmMkLst>
            </pc226:cmChg>
          </p:ext>
        </pc:extLst>
      </pc:sldChg>
      <pc:sldChg chg="addCm">
        <pc:chgData name="Martina Kessler" userId="dc38a47a-e6db-4d2d-a6d1-43e68cd7c0ad" providerId="ADAL" clId="{38159CE1-47A6-4B89-84A6-F0B02FCFD7EC}" dt="2023-11-13T09:44:37.107" v="4"/>
        <pc:sldMkLst>
          <pc:docMk/>
          <pc:sldMk cId="2764081299" sldId="37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artina Kessler" userId="dc38a47a-e6db-4d2d-a6d1-43e68cd7c0ad" providerId="ADAL" clId="{38159CE1-47A6-4B89-84A6-F0B02FCFD7EC}" dt="2023-11-13T09:44:37.107" v="4"/>
              <pc2:cmMkLst xmlns:pc2="http://schemas.microsoft.com/office/powerpoint/2019/9/main/command">
                <pc:docMk/>
                <pc:sldMk cId="2764081299" sldId="379"/>
                <pc2:cmMk id="{4FD88C60-B3AE-4BBC-B469-D82ACF6D20F4}"/>
              </pc2:cmMkLst>
            </pc226:cmChg>
          </p:ext>
        </pc:extLst>
      </pc:sldChg>
    </pc:docChg>
  </pc:docChgLst>
</pc:chgInfo>
</file>

<file path=ppt/comments/modernComment_158_DC320BF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02C32F8-F875-4813-9D68-6813D00C1E06}" authorId="{535F758D-CE61-71D8-ADA9-B4F5BB4B295A}" created="2023-11-13T09:37:23.35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94267384" sldId="344"/>
      <ac:spMk id="19" creationId="{013473A8-2A56-6F2B-7D27-BB2A807A80B2}"/>
      <ac:txMk cp="89" len="16">
        <ac:context len="107" hash="588203131"/>
      </ac:txMk>
    </ac:txMkLst>
    <p188:pos x="6598860" y="541831"/>
    <p188:txBody>
      <a:bodyPr/>
      <a:lstStyle/>
      <a:p>
        <a:r>
          <a:rPr lang="en-GB"/>
          <a:t>"eine Person als Timekeeper."
für wenig Geübte ist es ggf. nicht verständlich, dass mit Timekeeper eine Person gedacht ist</a:t>
        </a:r>
      </a:p>
    </p188:txBody>
  </p188:cm>
  <p188:cm id="{D208FF55-A0A4-48E4-9A8C-3FB586B464B8}" authorId="{535F758D-CE61-71D8-ADA9-B4F5BB4B295A}" created="2023-11-13T09:37:52.72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94267384" sldId="344"/>
      <ac:spMk id="3" creationId="{F2475919-EB90-A1DE-65A6-D13F384E083D}"/>
      <ac:txMk cp="217" len="6">
        <ac:context len="569" hash="1413325140"/>
      </ac:txMk>
    </ac:txMkLst>
    <p188:pos x="4707972" y="959768"/>
    <p188:txBody>
      <a:bodyPr/>
      <a:lstStyle/>
      <a:p>
        <a:r>
          <a:rPr lang="en-GB"/>
          <a:t>Post-it</a:t>
        </a:r>
      </a:p>
    </p188:txBody>
  </p188:cm>
</p188:cmLst>
</file>

<file path=ppt/comments/modernComment_160_35B5D35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04E0E78-B1F8-4C3E-B6DE-700C53C22489}" authorId="{535F758D-CE61-71D8-ADA9-B4F5BB4B295A}" created="2023-11-13T09:34:44.168">
    <pc:sldMkLst xmlns:pc="http://schemas.microsoft.com/office/powerpoint/2013/main/command">
      <pc:docMk/>
      <pc:sldMk cId="901108566" sldId="352"/>
    </pc:sldMkLst>
    <p188:txBody>
      <a:bodyPr/>
      <a:lstStyle/>
      <a:p>
        <a:r>
          <a:rPr lang="en-GB"/>
          <a:t>Ggf. mit "iterative" statt linearen Pfeilen darstellen? </a:t>
        </a:r>
      </a:p>
    </p188:txBody>
  </p188:cm>
</p188:cmLst>
</file>

<file path=ppt/comments/modernComment_179_3E0E6F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0EF7357-760D-4711-AC7A-855AAC7047FD}" authorId="{535F758D-CE61-71D8-ADA9-B4F5BB4B295A}" created="2023-11-13T13:14:31.889">
    <pc:sldMkLst xmlns:pc="http://schemas.microsoft.com/office/powerpoint/2013/main/command">
      <pc:docMk/>
      <pc:sldMk cId="1041133383" sldId="377"/>
    </pc:sldMkLst>
    <p188:txBody>
      <a:bodyPr/>
      <a:lstStyle/>
      <a:p>
        <a:r>
          <a:rPr lang="en-GB"/>
          <a:t>Alternativ und falls sich die Personen sehr schwer tun mit Zeichnen, könnte man hier auch Magazine, Postkarten etc. bereitstellen, die sie zur Illustration nutzen können</a:t>
        </a:r>
      </a:p>
    </p188:txBody>
  </p188:cm>
</p188:cmLst>
</file>

<file path=ppt/comments/modernComment_17B_A4C0889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FD88C60-B3AE-4BBC-B469-D82ACF6D20F4}" authorId="{535F758D-CE61-71D8-ADA9-B4F5BB4B295A}" created="2023-11-13T09:44:36.92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764081299" sldId="379"/>
      <ac:spMk id="15" creationId="{1D740D47-E7A9-E8EC-37D7-9B2D40B5D229}"/>
      <ac:txMk cp="56" len="7">
        <ac:context len="93" hash="616038989"/>
      </ac:txMk>
    </ac:txMkLst>
    <p188:pos x="806064" y="667446"/>
    <p188:txBody>
      <a:bodyPr/>
      <a:lstStyle/>
      <a:p>
        <a:r>
          <a:rPr lang="en-GB"/>
          <a:t>Was ist ein Akzept?</a:t>
        </a:r>
      </a:p>
    </p188:txBody>
  </p188:cm>
</p188:cmLst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1:16.527"/>
    </inkml:context>
    <inkml:brush xml:id="br0">
      <inkml:brushProperty name="width" value="0.05" units="cm"/>
      <inkml:brushProperty name="height" value="0.05" units="cm"/>
      <inkml:brushProperty name="color" value="#8DE8D5"/>
    </inkml:brush>
  </inkml:definitions>
  <inkml:trace contextRef="#ctx0" brushRef="#br0">103 34 8952 0 0,'0'0'681'0'0,"-1"-1"-469"0"0,-3-7-165 0 0,3 6-32 0 0,0 0 0 0 0,0 0-1 0 0,0 1 1 0 0,0-1 0 0 0,0 0 0 0 0,1 0 0 0 0,-2-6 5206 0 0,2 8-5128 0 0,0 0 1 0 0,0 0 0 0 0,-1 0-1 0 0,1-1 1 0 0,0 1 0 0 0,0 0-1 0 0,0 0 1 0 0,0 0 0 0 0,-1-1-1 0 0,1 1 1 0 0,0 0 0 0 0,0 0-1 0 0,0 0 1 0 0,-1 0 0 0 0,1 0-1 0 0,0-1 1 0 0,0 1 0 0 0,-1 0-1 0 0,1 0 1 0 0,0 0-1 0 0,0 0 1 0 0,-1 0 0 0 0,1 0-1 0 0,-1 0 1 0 0,-1 1-68 0 0,-4 3 1075 0 0,6-4-1074 0 0,-1 0 0 0 0,1 0 0 0 0,0-1 1 0 0,0 1-1 0 0,-1 0 0 0 0,1 0 0 0 0,0 0 0 0 0,0 0 1 0 0,0 0-1 0 0,0 0 0 0 0,-1 0 0 0 0,1 0 0 0 0,0 0 0 0 0,0 0 1 0 0,0-1-1 0 0,-1 1 0 0 0,1 0 0 0 0,0 0 0 0 0,0 0 0 0 0,0 0 1 0 0,0 0-1 0 0,0-1 0 0 0,0 1 0 0 0,-1 0 0 0 0,1 0 1 0 0,0 0-1 0 0,0-1 0 0 0,0 1 0 0 0,0 0 0 0 0,0-1 0 0 0,-1 0 252 0 0,-3 6 105 0 0,1 0-265 0 0,1-1 0 0 0,-1 1-1 0 0,1-1 1 0 0,0 1 0 0 0,1 0 0 0 0,-1 0 0 0 0,1 0 0 0 0,-1 6-1 0 0,-5 15 336 0 0,4-15-157 0 0,1 0-1 0 0,0 0 1 0 0,0 0 0 0 0,1 0 0 0 0,1 22 0 0 0,-3 17 87 0 0,-1 141 1378 0 0,5-122-1748 0 0,-1-47 177 0 0,3 22 1 0 0,-1-25 8 0 0,-2 0 1 0 0,-3 29-1 0 0,1 8 83 0 0,5 24 219 0 0,-2-71-444 0 0,-1 1 0 0 0,-2 13-1 0 0,0 9-54 0 0,5 98 114 0 0,-1-96 2 0 0,-5 41-1 0 0,1-6 16 0 0,5 26 45 0 0,-1 7-39 0 0,-3-56-62 0 0,1-34-61 0 0,-4 100 113 0 0,3-51-38 0 0,2-36-51 0 0,3 74 34 0 0,-4 87-11 0 0,1-135 137 0 0,-1 43 254 0 0,-5-25-839 0 0,1 2 360 0 0,2 37 24 0 0,3-58 0 0 0,-1-15 7 0 0,-4 109 50 0 0,-1-99-39 0 0,1-18 5 0 0,0 30 0 0 0,3-5-23 0 0,0 25 0 0 0,1 14 0 0 0,1-24 40 0 0,0-19-16 0 0,4 43 29 0 0,-5 149 22 0 0,-3-190-75 0 0,2-27 0 0 0,1 36 0 0 0,3-7 43 0 0,2 24-22 0 0,-4-66-21 0 0,0 16 0 0 0,-1-17 0 0 0,2 16 0 0 0,3 39 61 0 0,-2-17-58 0 0,-2 46-3 0 0,-1-50 0 0 0,-5 29 0 0 0,0-2 0 0 0,5-53 0 0 0,6 161 0 0 0,-6-139 0 0 0,-1-27 0 0 0,2 14 0 0 0,3 42 64 0 0,-2-23-64 0 0,-1-26 0 0 0,-1 33 0 0 0,-3 86 0 0 0,3-106 0 0 0,-5 41 0 0 0,4-21 0 0 0,3 62 0 0 0,-1-84 0 0 0,-1-18 0 0 0,3 19 0 0 0,-1-12 0 0 0,-1-1 0 0 0,0 1 0 0 0,-3 26 0 0 0,0 5 0 0 0,-3 52 0 0 0,0-28 0 0 0,5-72 0 0 0,4 129 0 0 0,-2-103 0 0 0,-2-17 0 0 0,4 24 0 0 0,-2-19 0 0 0,0 32 0 0 0,-1-14 0 0 0,1 55 0 0 0,-3 61 0 0 0,-1-61 0 0 0,5 120 0 0 0,-1-178 0 0 0,0-21 0 0 0,-2 0 0 0 0,0 12 0 0 0,-1-9 0 0 0,0-8 0 0 0,0 1 0 0 0,1 0 0 0 0,0 8 0 0 0,4 97 0 0 0,-4-88 0 0 0,-5 50 0 0 0,5-27 0 0 0,0 37 0 0 0,-1-35 0 0 0,0-31 0 0 0,1 18 0 0 0,2 86 0 0 0,2-53 0 0 0,-2-41 0 0 0,-2-20 0 0 0,0 1 0 0 0,1-1 0 0 0,1 7 0 0 0,0 0 0 0 0,0 0 0 0 0,-1 0 0 0 0,-2 28 0 0 0,1-12 0 0 0,-4 144 0 0 0,1-72 0 0 0,2-42 0 0 0,1-36 0 0 0,4 51 0 0 0,-4 15 0 0 0,0-84 0 0 0,-3 121 0 0 0,1-40 0 0 0,3-48 0 0 0,3 20 0 0 0,0 3 0 0 0,-2-32 0 0 0,-1-22 0 0 0,0 0 0 0 0,-1 0 0 0 0,-1 16 0 0 0,0-18 0 0 0,1 1 0 0 0,-1-1 0 0 0,1 0 0 0 0,0 1 0 0 0,2 11 0 0 0,-1-6 0 0 0,-1 71 0 0 0,0-82 0 0 0,0 0 0 0 0,1 0 0 0 0,-1 0 0 0 0,0 0 0 0 0,0 0 0 0 0,0 0 0 0 0,0 0 0 0 0,-1 0 0 0 0,1 0 0 0 0,0 0 0 0 0,0 0 0 0 0,-1 0 0 0 0,1 0 0 0 0,-1 1 0 0 0,-1 2 0 0 0,2 0 0 0 0,0 0 0 0 0,0 0 0 0 0,0-1 0 0 0,0 1 0 0 0,2 5 0 0 0,-2-5 0 0 0,1 0 0 0 0,-1 0 0 0 0,1 0 0 0 0,-2 7 0 0 0,0-6 0 0 0,1 1 0 0 0,-1-1 0 0 0,1 0 0 0 0,0 1 0 0 0,1-1 0 0 0,0 8 0 0 0,0-5 0 0 0,0 0 0 0 0,-2 16 0 0 0,1-18 0 0 0,-1 0 0 0 0,1 0 0 0 0,1 0 0 0 0,-1 0 0 0 0,1 1 0 0 0,3 10 0 0 0,-3-12 0 0 0,0 0 0 0 0,1 1 0 0 0,-2-1 0 0 0,1 8 0 0 0,1 2 0 0 0,-2-11 0 0 0,0 0 0 0 0,0 0 0 0 0,-1 6 0 0 0,0 11 0 0 0,3 3 0 0 0,-1 30 0 0 0,-2-21 0 0 0,0-16 0 0 0,2-7 0 0 0,0 5 0 0 0,-2 13 0 0 0,6 1 0 0 0,-5-28 0 0 0,0 1 0 0 0,0 0 0 0 0,1 0 0 0 0,-1-1 0 0 0,0 1 0 0 0,1 0 0 0 0,1 2 0 0 0,-2-2 0 0 0,1-1 0 0 0,0 1 0 0 0,-1 0 0 0 0,1 0 0 0 0,-1 0 0 0 0,0-1 0 0 0,1 5 0 0 0,2 16 0 0 0,-3-12 0 0 0,-3 0 0 0 0,2-6 0 0 0,0 0 0 0 0,0 0 0 0 0,1-1 0 0 0,-1 1 0 0 0,1 0 0 0 0,0 0 0 0 0,0 4 0 0 0,-3 10 64 0 0,2-9-77 0 0,1-7-110 0 0,4-9-1206 0 0,3-1-79 0 0,-6 7 1199 0 0,1 0-1 0 0,-1 0 1 0 0,0 0 0 0 0,0 0-1 0 0,-1 0 1 0 0,1 0 0 0 0,1-2-1 0 0,7-17-1178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9:28.056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286 42 456 0 0,'-1'-1'-3'0'0,"1"0"1"0"0,-1 1-1 0 0,1-1 1 0 0,-1 0-1 0 0,0 0 1 0 0,1 0-1 0 0,0 0 1 0 0,-1 0-1 0 0,1-1 1 0 0,-12-18 15937 0 0,12 20-15857 0 0,0-1 0 0 0,-1 1 0 0 0,1 0-1 0 0,0 0 1 0 0,0 0 0 0 0,-1 0 0 0 0,1 0 0 0 0,0 0 0 0 0,0-1-1 0 0,-1 1 1 0 0,1 0 0 0 0,0 0 0 0 0,0 0 0 0 0,-1 0 0 0 0,1-1-1 0 0,0 1 1 0 0,0 0 0 0 0,0 0 0 0 0,0-1 0 0 0,-1 1-1 0 0,1 0 1 0 0,0 0 0 0 0,0-1 0 0 0,0 1 0 0 0,0-1 37 0 0,0 1 1 0 0,0 0 0 0 0,-1-1-1 0 0,1 1 1 0 0,0 0 0 0 0,0-1 0 0 0,0 1-1 0 0,0 0 1 0 0,-1 0 0 0 0,1-1-1 0 0,0 1 1 0 0,0 0 0 0 0,0 0-1 0 0,-1-1 1 0 0,1 1 0 0 0,0 0-1 0 0,0 0 1 0 0,-1 0 0 0 0,1 0-1 0 0,0-1 1 0 0,-1 1 0 0 0,1 0-1 0 0,0 0 1 0 0,-1 0 0 0 0,0 0 670 0 0,-3 1-63 0 0,4-1-713 0 0,0 1-1 0 0,0-1 1 0 0,-1 0 0 0 0,1 0-1 0 0,0 0 1 0 0,0 0-1 0 0,0 0 1 0 0,-1 0 0 0 0,1 0-1 0 0,0 0 1 0 0,0 0 0 0 0,0 0-1 0 0,-1 0 1 0 0,1 1-1 0 0,0-1 1 0 0,0 0 0 0 0,0 0-1 0 0,0 0 1 0 0,-1 0 0 0 0,1 1-1 0 0,0-1 1 0 0,0 0-1 0 0,0 0 1 0 0,0 0 0 0 0,0 1-1 0 0,-1 1 29 0 0,0 1-1 0 0,1 0 1 0 0,-1 0 0 0 0,1-1-1 0 0,0 6 1 0 0,-1 2 39 0 0,-1 2 74 0 0,1-4-50 0 0,0 0-1 0 0,0 9 1 0 0,-3 28 403 0 0,1 68 407 0 0,-2-36-382 0 0,4-44-297 0 0,-7 32 0 0 0,1 3 31 0 0,6-53-203 0 0,0-2 34 0 0,-3 21 1 0 0,-11 52 317 0 0,-5 126 0 0 0,18-62-203 0 0,3-83-117 0 0,-6 7 42 0 0,-7 140 132 0 0,6-88-143 0 0,5-74-86 0 0,0 21 42 0 0,-2 44 85 0 0,1-25-50 0 0,2-60-62 0 0,-3 38 1 0 0,-13 167 133 0 0,11-104-44 0 0,1-4-129 0 0,-1-63 30 0 0,1-24-22 0 0,-3 133 43 0 0,5-84-64 0 0,2-44 0 0 0,-7 58 0 0 0,5-74 20 0 0,0 44-1 0 0,1 2 6 0 0,-3 65-25 0 0,-3 35 0 0 0,2-59 56 0 0,5-84-32 0 0,-1-1 0 0 0,-6 37 0 0 0,5-48-24 0 0,0 1 0 0 0,1 32 0 0 0,1 9 0 0 0,-1-43 0 0 0,-5 136 0 0 0,6 50 0 0 0,-5-134 0 0 0,2 1 0 0 0,-1-24 0 0 0,2-9 0 0 0,-1 36 67 0 0,-1 45 42 0 0,1 39-109 0 0,0-119 0 0 0,2-29 0 0 0,0 0 0 0 0,2 20 0 0 0,0-18-7 0 0,-2 19 1 0 0,0-4-41 0 0,-4 114 35 0 0,5 335 12 0 0,-2-420 0 0 0,1 28 0 0 0,1-10 67 0 0,-1-57-60 0 0,3 20 0 0 0,0 2-8 0 0,-1 0 0 0 0,-5 101-78 0 0,2-111 79 0 0,2 34 0 0 0,0 12 0 0 0,-7 124 0 0 0,7 100 0 0 0,1-278 0 0 0,0-11 0 0 0,-2 17 0 0 0,1-19 0 0 0,0 0 0 0 0,2 17 0 0 0,0-1 0 0 0,1 14 0 0 0,1 34 0 0 0,1 33 0 0 0,1-37 0 0 0,-4-50 0 0 0,2 2 0 0 0,-2-14 0 0 0,-1 0 0 0 0,1 11 0 0 0,1 37 0 0 0,1 5 0 0 0,-3-47 0 0 0,-1 16 0 0 0,0-18 0 0 0,1 0 0 0 0,2 18 0 0 0,2 24 19 0 0,-3-30 22 0 0,0 7-28 0 0,-2-16-13 0 0,3 17-1 0 0,-1-23 1 0 0,-1 21 0 0 0,0 2 0 0 0,3 12 0 0 0,4 34 0 0 0,-6-67 0 0 0,-2-10 0 0 0,1 1 0 0 0,-1-1 0 0 0,1 1 0 0 0,-1-1 0 0 0,1 1 0 0 0,0-1 0 0 0,2 4 0 0 0,-2-1 0 0 0,1-1 0 0 0,-1 1 0 0 0,0 0 0 0 0,-1 0 0 0 0,1 0 0 0 0,-1 0 0 0 0,0-1 0 0 0,-1 10 0 0 0,0 2 0 0 0,1-1 0 0 0,1-3 0 0 0,-1 1 0 0 0,-1-1 0 0 0,-2 14 0 0 0,2-23 0 0 0,1-1 0 0 0,0 0 0 0 0,0 0 0 0 0,0 0 0 0 0,0 1 0 0 0,1-1 0 0 0,0 4 0 0 0,1 10 0 0 0,-2 2 0 0 0,-3 29 0 0 0,2-41 0 0 0,1 0 0 0 0,0 0 0 0 0,0 0 0 0 0,1 0 0 0 0,2 10 0 0 0,-1-8 0 0 0,-1 0 0 0 0,1 11 0 0 0,1 62 0 0 0,0-56 0 0 0,-3-19 0 0 0,1-1 0 0 0,0 0 0 0 0,-1 1 0 0 0,0-1 0 0 0,-1 9 0 0 0,0-12 0 0 0,0 7 0 0 0,-1 0 0 0 0,1 1 0 0 0,0-1 0 0 0,1 0 0 0 0,0 1 0 0 0,1 12 0 0 0,0-20 0 0 0,-1 0 0 0 0,0 0 0 0 0,0-1 0 0 0,0 1 0 0 0,0 0 0 0 0,0-1 0 0 0,0 1 0 0 0,-1 2 0 0 0,0-2 0 0 0,1-1 0 0 0,0 1 0 0 0,-1 0 0 0 0,1-1 0 0 0,0 1 0 0 0,0-1 0 0 0,0 4 0 0 0,1-2 0 0 0,0 1 0 0 0,-1 0 0 0 0,0 0 0 0 0,0 0 0 0 0,0 0 0 0 0,0-1 0 0 0,-2 8 0 0 0,1-3 0 0 0,1 1 0 0 0,-1-1 0 0 0,2 13 0 0 0,0-1 0 0 0,-1-18 0 0 0,0 0 0 0 0,0 0 0 0 0,0 0 0 0 0,0 0 0 0 0,0 1 0 0 0,0-1 0 0 0,2 2 0 0 0,-2-2 0 0 0,0 0 0 0 0,1 0 0 0 0,-1-1 0 0 0,0 1 0 0 0,0 0 0 0 0,0 0 0 0 0,0 2 0 0 0,4 15 0 0 0,-4-9 0 0 0,-2-4 0 0 0,0 8 0 0 0,-1 4 0 0 0,3-14 0 0 0,0 0 0 0 0,2 9 0 0 0,-1 6 0 0 0,-1-10 11 0 0,-1-5 31 0 0,-1 3-46 0 0,2-5-94 0 0,11-20-5878 0 0,-7 7-2702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9:28.057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1 1 6072 0 0,'0'0'13007'0'0,"0"0"-12960"0"0,0 0 0 0 0,0 1 0 0 0,1-1-1 0 0,-1 1 1 0 0,1-1 0 0 0,-1 0 0 0 0,0 0 0 0 0,1 1-1 0 0,-1-1 1 0 0,1 0 0 0 0,-1 1 0 0 0,1-1-1 0 0,4 0 122 0 0,-1 1 0 0 0,0-1 0 0 0,1 1 0 0 0,-1 0 0 0 0,5 2 0 0 0,2-2 479 0 0,-4-1-446 0 0,7 1 285 0 0,-12-1-428 0 0,0 0 0 0 0,0 0 0 0 0,0 0 0 0 0,0 0 0 0 0,-1 0-1 0 0,1 1 1 0 0,0-1 0 0 0,2 2 0 0 0,4 0 106 0 0,0 0 0 0 0,0 0 0 0 0,0-1 1 0 0,9 0-1 0 0,0 1 32 0 0,17 0 168 0 0,-21-2-191 0 0,14 2 1 0 0,2 1 65 0 0,-21-3-156 0 0,1 1 0 0 0,11 2 0 0 0,-9-1 22 0 0,1 0 0 0 0,14 0 1 0 0,11 1 246 0 0,-16-1 4 0 0,30 0 1 0 0,7 0-193 0 0,38-1 340 0 0,-52-1-304 0 0,-11-2-3 0 0,41-6 0 0 0,-11 0-34 0 0,-22 3-84 0 0,46-2 117 0 0,-66 7-76 0 0,28-5 0 0 0,-26 3-95 0 0,0 1-1 0 0,25 1 0 0 0,-13 1-17 0 0,-24-2 27 0 0,15-2 0 0 0,-15 1 20 0 0,15 0 0 0 0,104 2-126 0 0,-62 3 72 0 0,-52-3 0 0 0,6 0 0 0 0,24-2 0 0 0,-30 0 0 0 0,22 2 0 0 0,-22 1 0 0 0,26-3 0 0 0,-33 1 0 0 0,0 1 0 0 0,-1 1 0 0 0,1 0 0 0 0,13 3 0 0 0,-22-4 0 0 0,9 1 24 0 0,0 1 0 0 0,0-1 0 0 0,0-1 0 0 0,0 0 0 0 0,0 0 0 0 0,16-3 0 0 0,-13 3-24 0 0,-3 2 0 0 0,1-1 0 0 0,-1 0 0 0 0,18-1 0 0 0,-6 0 0 0 0,138 0 8 0 0,-130-5-8 0 0,121 5 0 0 0,-118-1 0 0 0,-20-1 0 0 0,0 2 0 0 0,15 1 0 0 0,-9 0 0 0 0,26-2 0 0 0,-25 0 0 0 0,29 2 0 0 0,-32 2 0 0 0,8 1 0 0 0,494-4 296 0 0,-459 4-244 0 0,2-1-24 0 0,45 1-28 0 0,-99-4 0 0 0,0 0 0 0 0,10 3 0 0 0,-10-1 0 0 0,0-1 0 0 0,10 0 0 0 0,-12-1 1 0 0,7 0 21 0 0,-1 0 0 0 0,23-4 0 0 0,-31 4-11 0 0,0-1 1 0 0,1 1-1 0 0,-1 0 0 0 0,6 0 1 0 0,6 0 8 0 0,130-6-20 0 0,-138 6 11 0 0,1 0-1 0 0,10-3 1 0 0,-10 1 0 0 0,-1 1-1 0 0,12 0 1 0 0,125 1 53 0 0,-135 0-64 0 0,16 4 0 0 0,6-1 0 0 0,3-3 38 0 0,70 3 201 0 0,-85-2-248 0 0,36-3-1 0 0,-9 0-8 0 0,-6-2 18 0 0,-19 4-36 0 0,22 4 0 0 0,-25-3 36 0 0,27-1 0 0 0,-31-1 0 0 0,0 1 0 0 0,0 0 0 0 0,21 4 0 0 0,-26-3 9 0 0,1 0 1 0 0,0 0-1 0 0,16-2 0 0 0,-13 1 5 0 0,19 1-1 0 0,62 10-77 0 0,-64-9 64 0 0,-20-2 0 0 0,16 3 0 0 0,-11 0 0 0 0,-7-1 0 0 0,0-1 0 0 0,1 1 0 0 0,-1-1 0 0 0,1-1 0 0 0,9 0 0 0 0,-6-1 0 0 0,24 2 0 0 0,-8 0 0 0 0,-24-1 0 0 0,93 3 0 0 0,-26 1 53 0 0,-53-4-68 0 0,28-1 0 0 0,-8-1-8 0 0,-15 0 23 0 0,-20 1 0 0 0,0 1 0 0 0,-1-1 0 0 0,1 1 0 0 0,0 0 0 0 0,0 0 0 0 0,4 0 0 0 0,6 2 59 0 0,23 0-1 0 0,-23-1-46 0 0,-9-1-23 0 0,-1 0 1 0 0,0 1-1 0 0,1-2 0 0 0,4 1 0 0 0,-5-1 1 0 0,-1 1 7 0 0,14 3 5 0 0,-8-3 17 0 0,20 4 26 0 0,-3-1-45 0 0,-24-2-3 0 0,1-1 0 0 0,0 1 0 0 0,0-1 0 0 0,0 0 0 0 0,0 0 0 0 0,0 0 0 0 0,0 0-1 0 0,3-1 1 0 0,-1 1-22 0 0,6 2 21 0 0,6-1 27 0 0,21 7 0 0 0,33 6-12 0 0,-11-11-75 0 0,3-2 64 0 0,-39-1 0 0 0,90-3 0 0 0,-101 3 3 0 0,0 0-1 0 0,0 2 1 0 0,21 3 0 0 0,-22-3 6 0 0,0 0 1 0 0,1-1-1 0 0,-1-1 1 0 0,18-1-1 0 0,-3 1-3 0 0,56 0-70 0 0,-72-1 64 0 0,16-2 0 0 0,-16 1 0 0 0,15 0 0 0 0,43-1 0 0 0,-57 2 0 0 0,-8 0 0 0 0,0 1 0 0 0,0 0 0 0 0,0 0 0 0 0,1 0 0 0 0,5 1 0 0 0,0 0 0 0 0,0 0 0 0 0,0-1 0 0 0,14 0 0 0 0,1-1 0 0 0,16-4 0 0 0,-26 4 0 0 0,2 0 0 0 0,-7 2 0 0 0,0-1 0 0 0,1 0 0 0 0,15-1 0 0 0,-23 0 6 0 0,1 1 0 0 0,-1-1 0 0 0,1 1 0 0 0,0 0 0 0 0,-1 0 0 0 0,1 0 0 0 0,2 1 0 0 0,1-1 10 0 0,29 0-16 0 0,6 0 0 0 0,-8 0 0 0 0,-30 0 0 0 0,-1 0 0 0 0,0 0 0 0 0,0 1 0 0 0,0-1 0 0 0,0 0 0 0 0,0 1 0 0 0,4 1 0 0 0,8 3 0 0 0,-10-5 0 0 0,-1-1 0 0 0,17 1 0 0 0,-9 0 0 0 0,-1 0 0 0 0,1 0 0 0 0,-2 0 0 0 0,2 0 0 0 0,-2 0 0 0 0,0 0 0 0 0,-1 0 0 0 0,0 0 0 0 0,0 0 0 0 0,-1 0 11 0 0,-5 0 213 0 0,-3 0-1172 0 0,-1 0 575 0 0,1 0 0 0 0,0 1 0 0 0,0-1 0 0 0,0 0-1 0 0,-1 1 1 0 0,1-1 0 0 0,0 1 0 0 0,0 0 0 0 0,0-1 0 0 0,-2 2 0 0 0,-3 2-4243 0 0,-6 0-3982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9:28.058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0 92 4608 0 0,'0'0'12602'0'0,"2"0"-12453"0"0,-1 0-135 0 0,1 1-18 0 0,9-6 82 0 0,-10 4 293 0 0,6 1 282 0 0,-2 0-517 0 0,0 0 0 0 0,0 0 0 0 0,0 0 0 0 0,0 1 0 0 0,0 0 0 0 0,6 2 0 0 0,-5-2-29 0 0,-1 0-1 0 0,1 0 0 0 0,0 0 1 0 0,-1-1-1 0 0,1 0 1 0 0,0 0-1 0 0,-1 0 0 0 0,1-1 1 0 0,7-1-1 0 0,0 0 270 0 0,48-7 259 0 0,42-5-219 0 0,-12 6 924 0 0,-29 2-1075 0 0,71 0-265 0 0,-120 6-10 0 0,1 0 0 0 0,0 1-1 0 0,20 4 1 0 0,-18-2 496 0 0,29 1 0 0 0,-30-3 54 0 0,20 3 1 0 0,-10 0-505 0 0,-5-2-36 0 0,-8 0 0 0 0,17 1 0 0 0,-7-3 0 0 0,105-3 0 0 0,23 2 0 0 0,-81 1 0 0 0,35-4 0 0 0,-81 4 134 0 0,2 1 504 0 0,0-2 0 0 0,45-7 0 0 0,-15-1-638 0 0,74-4 0 0 0,-54 6 0 0 0,35 0 0 0 0,-36 6 0 0 0,-44 2 0 0 0,65 3 0 0 0,-86-4 0 0 0,23 0 0 0 0,37-4 0 0 0,-40 1 0 0 0,-1 1 0 0 0,34 3 0 0 0,-17-1 0 0 0,301 4 0 0 0,-184-11 0 0 0,-77 2 0 0 0,-50 2 0 0 0,1 0 0 0 0,79-4 0 0 0,14 10 0 0 0,-37 0 0 0 0,-60 0 0 0 0,-14-1 0 0 0,4 2 0 0 0,-15-3 0 0 0,1 0 0 0 0,8 0 0 0 0,66 2 0 0 0,-19 1 0 0 0,6-1 0 0 0,-41-1 0 0 0,23-1 0 0 0,-25-1 0 0 0,41 6 0 0 0,-40-3 0 0 0,0-1 0 0 0,1-1 0 0 0,47-4 0 0 0,-3 1 0 0 0,-7 1 0 0 0,42 2 0 0 0,-41 1 0 0 0,-2 3 0 0 0,-21 0 0 0 0,2 0 0 0 0,-28-2 0 0 0,25 0 0 0 0,-6 0 0 0 0,-27-2 0 0 0,1 0 0 0 0,-1-1 0 0 0,17-1 0 0 0,-20 0 63 0 0,0 1 1 0 0,0-1-1 0 0,-1 1 0 0 0,1 0 0 0 0,0 1 1 0 0,6 0-1 0 0,24 1 1057 0 0,-7-1-1070 0 0,-23 0-316 0 0,0-1-1 0 0,10-2 0 0 0,7 1-325 0 0,4 1 504 0 0,98-4 11 0 0,-119 4 77 0 0,0 0 0 0 0,1 0 0 0 0,8 2 0 0 0,9 0 0 0 0,71 1 0 0 0,-85-3 0 0 0,1 1 0 0 0,12 3 0 0 0,-13-2 0 0 0,0 0 0 0 0,12 0 0 0 0,-13-2 0 0 0,0 1 0 0 0,0 0 0 0 0,10 3 0 0 0,13 2 0 0 0,31-2 0 0 0,83-5 0 0 0,-52-2 0 0 0,34 2 0 0 0,-69 2 0 0 0,-30 0 0 0 0,44 8 0 0 0,-62-8 0 0 0,1 0 0 0 0,12-1 0 0 0,-12 0 0 0 0,17 1 0 0 0,-19 0 0 0 0,1-1 0 0 0,20-2 0 0 0,4 0 0 0 0,-22 2 0 0 0,15-3 0 0 0,-15 1 0 0 0,15 0 0 0 0,54-1 0 0 0,-53-2 0 0 0,37 5 0 0 0,-64 0 0 0 0,-1 0 0 0 0,1 0 0 0 0,0 1 0 0 0,-1-1 0 0 0,1 0 0 0 0,0 1 0 0 0,2 0 0 0 0,0 0 0 0 0,-1 0 0 0 0,1 0 0 0 0,-1 0 0 0 0,1-1 0 0 0,0 1 0 0 0,-1-1 0 0 0,7 0 0 0 0,44 3 0 0 0,-42-3 0 0 0,-5-1 0 0 0,0 1 0 0 0,12 2 0 0 0,4 3 0 0 0,-21-4 0 0 0,0-1 0 0 0,0 1 0 0 0,0-1 0 0 0,0 0 0 0 0,0 0 0 0 0,0 0 0 0 0,3 0 0 0 0,10 1 0 0 0,3 3 0 0 0,-15-3 0 0 0,-2-1 0 0 0,-1 1 0 0 0,1-1 0 0 0,0 1 0 0 0,0-1 0 0 0,-1 0 0 0 0,1 1 0 0 0,0-1 0 0 0,0 0 0 0 0,0 0 0 0 0,0 1 0 0 0,-1-1 0 0 0,1 0 0 0 0,2 0 0 0 0,-1 0 0 0 0,-1 1 0 0 0,1-1 0 0 0,0 0 0 0 0,0 1 0 0 0,-1-1 0 0 0,1 0 0 0 0,0 0 0 0 0,0 0 0 0 0,2-1 0 0 0,1 0 0 0 0,20 1 0 0 0,58 0 0 0 0,-82 0 8 0 0,0 0 1 0 0,0 0-1 0 0,0 0 0 0 0,0 0 0 0 0,1 0 0 0 0,-1 1 1 0 0,0-1-1 0 0,0 0 0 0 0,0 0 0 0 0,0 1 1 0 0,0-1-1 0 0,2 2 0 0 0,-2-2 5 0 0,-1 0 0 0 0,0 0-1 0 0,0 0 1 0 0,1 0 0 0 0,-1 0 0 0 0,0 1 0 0 0,1-1-1 0 0,-1 0 1 0 0,0 0 0 0 0,1 0 0 0 0,-1 0 0 0 0,0 0-1 0 0,1 0 1 0 0,-1 0 0 0 0,0 0 0 0 0,1 0 0 0 0,-1 0-1 0 0,0 0 1 0 0,1 0 0 0 0,-1 0 0 0 0,0-1 0 0 0,1 1-1 0 0,3-1 110 0 0,-2 0-15 0 0,-1 0 0 0 0,1 1-1 0 0,0 0 1 0 0,-1-1 0 0 0,1 1 0 0 0,0 0-1 0 0,0 0 1 0 0,-1 0 0 0 0,3 0 0 0 0,37 0-1297 0 0,-36 0 2114 0 0,-2 0-989 0 0,-1 0-1 0 0,1 0 1 0 0,-1 0 0 0 0,1 0-1 0 0,-1 0 1 0 0,1 1 0 0 0,-1-1 0 0 0,0 1-1 0 0,1 0 1 0 0,2 1 0 0 0,-3-1-82 0 0,-2-1 123 0 0,1 0 1 0 0,-1 1 0 0 0,1-1 0 0 0,-1 0 0 0 0,1 0 0 0 0,-1 1 0 0 0,1-1-1 0 0,-1 0 1 0 0,1 0 0 0 0,0 0 0 0 0,-1 0 0 0 0,1 0 0 0 0,-1 0 0 0 0,1 0 0 0 0,0 0-1 0 0,-1 0 1 0 0,2 0 0 0 0,3 0 44 0 0,-5 0 17 0 0,0 0 0 0 0,0 0 1 0 0,0 0-1 0 0,0 0 0 0 0,1 0 0 0 0,-1 0 0 0 0,0 0 0 0 0,0 0 0 0 0,0 0 0 0 0,0 0 1 0 0,0 1-1 0 0,0-1 0 0 0,1 0 0 0 0,-1 0 0 0 0,0 0 0 0 0,0 0 0 0 0,0 0 1 0 0,0 0-1 0 0,0 0 0 0 0,0 1 0 0 0,0-1 0 0 0,0 0 0 0 0,0 0 0 0 0,0 0 0 0 0,1 0 1 0 0,-1 0-1 0 0,0 1 0 0 0,0-1 0 0 0,0 0 0 0 0,0 0 0 0 0,0 0 0 0 0,0 0 1 0 0,0 1-1 0 0,0-1 0 0 0,-1 10-313 0 0,-7 13-8085 0 0,1-8-427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1:21.740"/>
    </inkml:context>
    <inkml:brush xml:id="br0">
      <inkml:brushProperty name="width" value="0.05" units="cm"/>
      <inkml:brushProperty name="height" value="0.05" units="cm"/>
      <inkml:brushProperty name="color" value="#8DE8D5"/>
    </inkml:brush>
  </inkml:definitions>
  <inkml:trace contextRef="#ctx0" brushRef="#br0">286 42 456 0 0,'-1'-1'-3'0'0,"1"0"1"0"0,-1 1-1 0 0,1-1 1 0 0,-1 0-1 0 0,0 0 1 0 0,1 0-1 0 0,0 0 1 0 0,-1 0-1 0 0,1-1 1 0 0,-12-18 15937 0 0,12 20-15857 0 0,0-1 0 0 0,-1 1 0 0 0,1 0-1 0 0,0 0 1 0 0,0 0 0 0 0,-1 0 0 0 0,1 0 0 0 0,0 0 0 0 0,0-1-1 0 0,-1 1 1 0 0,1 0 0 0 0,0 0 0 0 0,0 0 0 0 0,-1 0 0 0 0,1-1-1 0 0,0 1 1 0 0,0 0 0 0 0,0 0 0 0 0,0-1 0 0 0,-1 1-1 0 0,1 0 1 0 0,0 0 0 0 0,0-1 0 0 0,0 1 0 0 0,0-1 37 0 0,0 1 1 0 0,0 0 0 0 0,-1-1-1 0 0,1 1 1 0 0,0 0 0 0 0,0-1 0 0 0,0 1-1 0 0,0 0 1 0 0,-1 0 0 0 0,1-1-1 0 0,0 1 1 0 0,0 0 0 0 0,0 0-1 0 0,-1-1 1 0 0,1 1 0 0 0,0 0-1 0 0,0 0 1 0 0,-1 0 0 0 0,1 0-1 0 0,0-1 1 0 0,-1 1 0 0 0,1 0-1 0 0,0 0 1 0 0,-1 0 0 0 0,0 0 670 0 0,-3 1-63 0 0,4-1-713 0 0,0 1-1 0 0,0-1 1 0 0,-1 0 0 0 0,1 0-1 0 0,0 0 1 0 0,0 0-1 0 0,0 0 1 0 0,-1 0 0 0 0,1 0-1 0 0,0 0 1 0 0,0 0 0 0 0,0 0-1 0 0,-1 0 1 0 0,1 1-1 0 0,0-1 1 0 0,0 0 0 0 0,0 0-1 0 0,0 0 1 0 0,-1 0 0 0 0,1 1-1 0 0,0-1 1 0 0,0 0-1 0 0,0 0 1 0 0,0 0 0 0 0,0 1-1 0 0,-1 1 29 0 0,0 1-1 0 0,1 0 1 0 0,-1 0 0 0 0,1-1-1 0 0,0 6 1 0 0,-1 2 39 0 0,-1 2 74 0 0,1-4-50 0 0,0 0-1 0 0,0 9 1 0 0,-3 28 403 0 0,1 68 407 0 0,-2-36-382 0 0,4-44-297 0 0,-7 32 0 0 0,1 3 31 0 0,6-53-203 0 0,0-2 34 0 0,-3 21 1 0 0,-11 52 317 0 0,-5 126 0 0 0,18-62-203 0 0,3-83-117 0 0,-6 7 42 0 0,-7 140 132 0 0,6-88-143 0 0,5-74-86 0 0,0 21 42 0 0,-2 44 85 0 0,1-25-50 0 0,2-60-62 0 0,-3 38 1 0 0,-13 167 133 0 0,11-104-44 0 0,1-4-129 0 0,-1-63 30 0 0,1-24-22 0 0,-3 133 43 0 0,5-84-64 0 0,2-44 0 0 0,-7 58 0 0 0,5-74 20 0 0,0 44-1 0 0,1 2 6 0 0,-3 65-25 0 0,-3 35 0 0 0,2-59 56 0 0,5-84-32 0 0,-1-1 0 0 0,-6 37 0 0 0,5-48-24 0 0,0 1 0 0 0,1 32 0 0 0,1 9 0 0 0,-1-43 0 0 0,-5 136 0 0 0,6 50 0 0 0,-5-134 0 0 0,2 1 0 0 0,-1-24 0 0 0,2-9 0 0 0,-1 36 67 0 0,-1 45 42 0 0,1 39-109 0 0,0-119 0 0 0,2-29 0 0 0,0 0 0 0 0,2 20 0 0 0,0-18-7 0 0,-2 19 1 0 0,0-4-41 0 0,-4 114 35 0 0,5 335 12 0 0,-2-420 0 0 0,1 28 0 0 0,1-10 67 0 0,-1-57-60 0 0,3 20 0 0 0,0 2-8 0 0,-1 0 0 0 0,-5 101-78 0 0,2-111 79 0 0,2 34 0 0 0,0 12 0 0 0,-7 124 0 0 0,7 100 0 0 0,1-278 0 0 0,0-11 0 0 0,-2 17 0 0 0,1-19 0 0 0,0 0 0 0 0,2 17 0 0 0,0-1 0 0 0,1 14 0 0 0,1 34 0 0 0,1 33 0 0 0,1-37 0 0 0,-4-50 0 0 0,2 2 0 0 0,-2-14 0 0 0,-1 0 0 0 0,1 11 0 0 0,1 37 0 0 0,1 5 0 0 0,-3-47 0 0 0,-1 16 0 0 0,0-18 0 0 0,1 0 0 0 0,2 18 0 0 0,2 24 19 0 0,-3-30 22 0 0,0 7-28 0 0,-2-16-13 0 0,3 17-1 0 0,-1-23 1 0 0,-1 21 0 0 0,0 2 0 0 0,3 12 0 0 0,4 34 0 0 0,-6-67 0 0 0,-2-10 0 0 0,1 1 0 0 0,-1-1 0 0 0,1 1 0 0 0,-1-1 0 0 0,1 1 0 0 0,0-1 0 0 0,2 4 0 0 0,-2-1 0 0 0,1-1 0 0 0,-1 1 0 0 0,0 0 0 0 0,-1 0 0 0 0,1 0 0 0 0,-1 0 0 0 0,0-1 0 0 0,-1 10 0 0 0,0 2 0 0 0,1-1 0 0 0,1-3 0 0 0,-1 1 0 0 0,-1-1 0 0 0,-2 14 0 0 0,2-23 0 0 0,1-1 0 0 0,0 0 0 0 0,0 0 0 0 0,0 0 0 0 0,0 1 0 0 0,1-1 0 0 0,0 4 0 0 0,1 10 0 0 0,-2 2 0 0 0,-3 29 0 0 0,2-41 0 0 0,1 0 0 0 0,0 0 0 0 0,0 0 0 0 0,1 0 0 0 0,2 10 0 0 0,-1-8 0 0 0,-1 0 0 0 0,1 11 0 0 0,1 62 0 0 0,0-56 0 0 0,-3-19 0 0 0,1-1 0 0 0,0 0 0 0 0,-1 1 0 0 0,0-1 0 0 0,-1 9 0 0 0,0-12 0 0 0,0 7 0 0 0,-1 0 0 0 0,1 1 0 0 0,0-1 0 0 0,1 0 0 0 0,0 1 0 0 0,1 12 0 0 0,0-20 0 0 0,-1 0 0 0 0,0 0 0 0 0,0-1 0 0 0,0 1 0 0 0,0 0 0 0 0,0-1 0 0 0,0 1 0 0 0,-1 2 0 0 0,0-2 0 0 0,1-1 0 0 0,0 1 0 0 0,-1 0 0 0 0,1-1 0 0 0,0 1 0 0 0,0-1 0 0 0,0 4 0 0 0,1-2 0 0 0,0 1 0 0 0,-1 0 0 0 0,0 0 0 0 0,0 0 0 0 0,0 0 0 0 0,0-1 0 0 0,-2 8 0 0 0,1-3 0 0 0,1 1 0 0 0,-1-1 0 0 0,2 13 0 0 0,0-1 0 0 0,-1-18 0 0 0,0 0 0 0 0,0 0 0 0 0,0 0 0 0 0,0 0 0 0 0,0 1 0 0 0,0-1 0 0 0,2 2 0 0 0,-2-2 0 0 0,0 0 0 0 0,1 0 0 0 0,-1-1 0 0 0,0 1 0 0 0,0 0 0 0 0,0 0 0 0 0,0 2 0 0 0,4 15 0 0 0,-4-9 0 0 0,-2-4 0 0 0,0 8 0 0 0,-1 4 0 0 0,3-14 0 0 0,0 0 0 0 0,2 9 0 0 0,-1 6 0 0 0,-1-10 11 0 0,-1-5 31 0 0,-1 3-46 0 0,2-5-94 0 0,11-20-5878 0 0,-7 7-2702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1:26.015"/>
    </inkml:context>
    <inkml:brush xml:id="br0">
      <inkml:brushProperty name="width" value="0.05" units="cm"/>
      <inkml:brushProperty name="height" value="0.05" units="cm"/>
      <inkml:brushProperty name="color" value="#8DE8D5"/>
    </inkml:brush>
  </inkml:definitions>
  <inkml:trace contextRef="#ctx0" brushRef="#br0">1 1 6072 0 0,'0'0'13007'0'0,"0"0"-12960"0"0,0 0 0 0 0,0 1 0 0 0,1-1-1 0 0,-1 1 1 0 0,1-1 0 0 0,-1 0 0 0 0,0 0 0 0 0,1 1-1 0 0,-1-1 1 0 0,1 0 0 0 0,-1 1 0 0 0,1-1-1 0 0,4 0 122 0 0,-1 1 0 0 0,0-1 0 0 0,1 1 0 0 0,-1 0 0 0 0,5 2 0 0 0,2-2 479 0 0,-4-1-446 0 0,7 1 285 0 0,-12-1-428 0 0,0 0 0 0 0,0 0 0 0 0,0 0 0 0 0,0 0 0 0 0,-1 0-1 0 0,1 1 1 0 0,0-1 0 0 0,2 2 0 0 0,4 0 106 0 0,0 0 0 0 0,0 0 0 0 0,0-1 1 0 0,9 0-1 0 0,0 1 32 0 0,17 0 168 0 0,-21-2-191 0 0,14 2 1 0 0,2 1 65 0 0,-21-3-156 0 0,1 1 0 0 0,11 2 0 0 0,-9-1 22 0 0,1 0 0 0 0,14 0 1 0 0,11 1 246 0 0,-16-1 4 0 0,30 0 1 0 0,7 0-193 0 0,38-1 340 0 0,-52-1-304 0 0,-11-2-3 0 0,41-6 0 0 0,-11 0-34 0 0,-22 3-84 0 0,46-2 117 0 0,-66 7-76 0 0,28-5 0 0 0,-26 3-95 0 0,0 1-1 0 0,25 1 0 0 0,-13 1-17 0 0,-24-2 27 0 0,15-2 0 0 0,-15 1 20 0 0,15 0 0 0 0,104 2-126 0 0,-62 3 72 0 0,-52-3 0 0 0,6 0 0 0 0,24-2 0 0 0,-30 0 0 0 0,22 2 0 0 0,-22 1 0 0 0,26-3 0 0 0,-33 1 0 0 0,0 1 0 0 0,-1 1 0 0 0,1 0 0 0 0,13 3 0 0 0,-22-4 0 0 0,9 1 24 0 0,0 1 0 0 0,0-1 0 0 0,0-1 0 0 0,0 0 0 0 0,0 0 0 0 0,16-3 0 0 0,-13 3-24 0 0,-3 2 0 0 0,1-1 0 0 0,-1 0 0 0 0,18-1 0 0 0,-6 0 0 0 0,138 0 8 0 0,-130-5-8 0 0,121 5 0 0 0,-118-1 0 0 0,-20-1 0 0 0,0 2 0 0 0,15 1 0 0 0,-9 0 0 0 0,26-2 0 0 0,-25 0 0 0 0,29 2 0 0 0,-32 2 0 0 0,8 1 0 0 0,494-4 296 0 0,-459 4-244 0 0,2-1-24 0 0,45 1-28 0 0,-99-4 0 0 0,0 0 0 0 0,10 3 0 0 0,-10-1 0 0 0,0-1 0 0 0,10 0 0 0 0,-12-1 1 0 0,7 0 21 0 0,-1 0 0 0 0,23-4 0 0 0,-31 4-11 0 0,0-1 1 0 0,1 1-1 0 0,-1 0 0 0 0,6 0 1 0 0,6 0 8 0 0,130-6-20 0 0,-138 6 11 0 0,1 0-1 0 0,10-3 1 0 0,-10 1 0 0 0,-1 1-1 0 0,12 0 1 0 0,125 1 53 0 0,-135 0-64 0 0,16 4 0 0 0,6-1 0 0 0,3-3 38 0 0,70 3 201 0 0,-85-2-248 0 0,36-3-1 0 0,-9 0-8 0 0,-6-2 18 0 0,-19 4-36 0 0,22 4 0 0 0,-25-3 36 0 0,27-1 0 0 0,-31-1 0 0 0,0 1 0 0 0,0 0 0 0 0,21 4 0 0 0,-26-3 9 0 0,1 0 1 0 0,0 0-1 0 0,16-2 0 0 0,-13 1 5 0 0,19 1-1 0 0,62 10-77 0 0,-64-9 64 0 0,-20-2 0 0 0,16 3 0 0 0,-11 0 0 0 0,-7-1 0 0 0,0-1 0 0 0,1 1 0 0 0,-1-1 0 0 0,1-1 0 0 0,9 0 0 0 0,-6-1 0 0 0,24 2 0 0 0,-8 0 0 0 0,-24-1 0 0 0,93 3 0 0 0,-26 1 53 0 0,-53-4-68 0 0,28-1 0 0 0,-8-1-8 0 0,-15 0 23 0 0,-20 1 0 0 0,0 1 0 0 0,-1-1 0 0 0,1 1 0 0 0,0 0 0 0 0,0 0 0 0 0,4 0 0 0 0,6 2 59 0 0,23 0-1 0 0,-23-1-46 0 0,-9-1-23 0 0,-1 0 1 0 0,0 1-1 0 0,1-2 0 0 0,4 1 0 0 0,-5-1 1 0 0,-1 1 7 0 0,14 3 5 0 0,-8-3 17 0 0,20 4 26 0 0,-3-1-45 0 0,-24-2-3 0 0,1-1 0 0 0,0 1 0 0 0,0-1 0 0 0,0 0 0 0 0,0 0 0 0 0,0 0 0 0 0,0 0-1 0 0,3-1 1 0 0,-1 1-22 0 0,6 2 21 0 0,6-1 27 0 0,21 7 0 0 0,33 6-12 0 0,-11-11-75 0 0,3-2 64 0 0,-39-1 0 0 0,90-3 0 0 0,-101 3 3 0 0,0 0-1 0 0,0 2 1 0 0,21 3 0 0 0,-22-3 6 0 0,0 0 1 0 0,1-1-1 0 0,-1-1 1 0 0,18-1-1 0 0,-3 1-3 0 0,56 0-70 0 0,-72-1 64 0 0,16-2 0 0 0,-16 1 0 0 0,15 0 0 0 0,43-1 0 0 0,-57 2 0 0 0,-8 0 0 0 0,0 1 0 0 0,0 0 0 0 0,0 0 0 0 0,1 0 0 0 0,5 1 0 0 0,0 0 0 0 0,0 0 0 0 0,0-1 0 0 0,14 0 0 0 0,1-1 0 0 0,16-4 0 0 0,-26 4 0 0 0,2 0 0 0 0,-7 2 0 0 0,0-1 0 0 0,1 0 0 0 0,15-1 0 0 0,-23 0 6 0 0,1 1 0 0 0,-1-1 0 0 0,1 1 0 0 0,0 0 0 0 0,-1 0 0 0 0,1 0 0 0 0,2 1 0 0 0,1-1 10 0 0,29 0-16 0 0,6 0 0 0 0,-8 0 0 0 0,-30 0 0 0 0,-1 0 0 0 0,0 0 0 0 0,0 1 0 0 0,0-1 0 0 0,0 0 0 0 0,0 1 0 0 0,4 1 0 0 0,8 3 0 0 0,-10-5 0 0 0,-1-1 0 0 0,17 1 0 0 0,-9 0 0 0 0,-1 0 0 0 0,1 0 0 0 0,-2 0 0 0 0,2 0 0 0 0,-2 0 0 0 0,0 0 0 0 0,-1 0 0 0 0,0 0 0 0 0,0 0 0 0 0,-1 0 11 0 0,-5 0 213 0 0,-3 0-1172 0 0,-1 0 575 0 0,1 0 0 0 0,0 1 0 0 0,0-1 0 0 0,0 0-1 0 0,-1 1 1 0 0,1-1 0 0 0,0 1 0 0 0,0 0 0 0 0,0-1 0 0 0,-2 2 0 0 0,-3 2-4243 0 0,-6 0-3982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1:29.419"/>
    </inkml:context>
    <inkml:brush xml:id="br0">
      <inkml:brushProperty name="width" value="0.05" units="cm"/>
      <inkml:brushProperty name="height" value="0.05" units="cm"/>
      <inkml:brushProperty name="color" value="#8DE8D5"/>
    </inkml:brush>
  </inkml:definitions>
  <inkml:trace contextRef="#ctx0" brushRef="#br0">0 92 4608 0 0,'0'0'12602'0'0,"2"0"-12453"0"0,-1 0-135 0 0,1 1-18 0 0,9-6 82 0 0,-10 4 293 0 0,6 1 282 0 0,-2 0-517 0 0,0 0 0 0 0,0 0 0 0 0,0 0 0 0 0,0 1 0 0 0,0 0 0 0 0,6 2 0 0 0,-5-2-29 0 0,-1 0-1 0 0,1 0 0 0 0,0 0 1 0 0,-1-1-1 0 0,1 0 1 0 0,0 0-1 0 0,-1 0 0 0 0,1-1 1 0 0,7-1-1 0 0,0 0 270 0 0,48-7 259 0 0,42-5-219 0 0,-12 6 924 0 0,-29 2-1075 0 0,71 0-265 0 0,-120 6-10 0 0,1 0 0 0 0,0 1-1 0 0,20 4 1 0 0,-18-2 496 0 0,29 1 0 0 0,-30-3 54 0 0,20 3 1 0 0,-10 0-505 0 0,-5-2-36 0 0,-8 0 0 0 0,17 1 0 0 0,-7-3 0 0 0,105-3 0 0 0,23 2 0 0 0,-81 1 0 0 0,35-4 0 0 0,-81 4 134 0 0,2 1 504 0 0,0-2 0 0 0,45-7 0 0 0,-15-1-638 0 0,74-4 0 0 0,-54 6 0 0 0,35 0 0 0 0,-36 6 0 0 0,-44 2 0 0 0,65 3 0 0 0,-86-4 0 0 0,23 0 0 0 0,37-4 0 0 0,-40 1 0 0 0,-1 1 0 0 0,34 3 0 0 0,-17-1 0 0 0,301 4 0 0 0,-184-11 0 0 0,-77 2 0 0 0,-50 2 0 0 0,1 0 0 0 0,79-4 0 0 0,14 10 0 0 0,-37 0 0 0 0,-60 0 0 0 0,-14-1 0 0 0,4 2 0 0 0,-15-3 0 0 0,1 0 0 0 0,8 0 0 0 0,66 2 0 0 0,-19 1 0 0 0,6-1 0 0 0,-41-1 0 0 0,23-1 0 0 0,-25-1 0 0 0,41 6 0 0 0,-40-3 0 0 0,0-1 0 0 0,1-1 0 0 0,47-4 0 0 0,-3 1 0 0 0,-7 1 0 0 0,42 2 0 0 0,-41 1 0 0 0,-2 3 0 0 0,-21 0 0 0 0,2 0 0 0 0,-28-2 0 0 0,25 0 0 0 0,-6 0 0 0 0,-27-2 0 0 0,1 0 0 0 0,-1-1 0 0 0,17-1 0 0 0,-20 0 63 0 0,0 1 1 0 0,0-1-1 0 0,-1 1 0 0 0,1 0 0 0 0,0 1 1 0 0,6 0-1 0 0,24 1 1057 0 0,-7-1-1070 0 0,-23 0-316 0 0,0-1-1 0 0,10-2 0 0 0,7 1-325 0 0,4 1 504 0 0,98-4 11 0 0,-119 4 77 0 0,0 0 0 0 0,1 0 0 0 0,8 2 0 0 0,9 0 0 0 0,71 1 0 0 0,-85-3 0 0 0,1 1 0 0 0,12 3 0 0 0,-13-2 0 0 0,0 0 0 0 0,12 0 0 0 0,-13-2 0 0 0,0 1 0 0 0,0 0 0 0 0,10 3 0 0 0,13 2 0 0 0,31-2 0 0 0,83-5 0 0 0,-52-2 0 0 0,34 2 0 0 0,-69 2 0 0 0,-30 0 0 0 0,44 8 0 0 0,-62-8 0 0 0,1 0 0 0 0,12-1 0 0 0,-12 0 0 0 0,17 1 0 0 0,-19 0 0 0 0,1-1 0 0 0,20-2 0 0 0,4 0 0 0 0,-22 2 0 0 0,15-3 0 0 0,-15 1 0 0 0,15 0 0 0 0,54-1 0 0 0,-53-2 0 0 0,37 5 0 0 0,-64 0 0 0 0,-1 0 0 0 0,1 0 0 0 0,0 1 0 0 0,-1-1 0 0 0,1 0 0 0 0,0 1 0 0 0,2 0 0 0 0,0 0 0 0 0,-1 0 0 0 0,1 0 0 0 0,-1 0 0 0 0,1-1 0 0 0,0 1 0 0 0,-1-1 0 0 0,7 0 0 0 0,44 3 0 0 0,-42-3 0 0 0,-5-1 0 0 0,0 1 0 0 0,12 2 0 0 0,4 3 0 0 0,-21-4 0 0 0,0-1 0 0 0,0 1 0 0 0,0-1 0 0 0,0 0 0 0 0,0 0 0 0 0,0 0 0 0 0,3 0 0 0 0,10 1 0 0 0,3 3 0 0 0,-15-3 0 0 0,-2-1 0 0 0,-1 1 0 0 0,1-1 0 0 0,0 1 0 0 0,0-1 0 0 0,-1 0 0 0 0,1 1 0 0 0,0-1 0 0 0,0 0 0 0 0,0 0 0 0 0,0 1 0 0 0,-1-1 0 0 0,1 0 0 0 0,2 0 0 0 0,-1 0 0 0 0,-1 1 0 0 0,1-1 0 0 0,0 0 0 0 0,0 1 0 0 0,-1-1 0 0 0,1 0 0 0 0,0 0 0 0 0,0 0 0 0 0,2-1 0 0 0,1 0 0 0 0,20 1 0 0 0,58 0 0 0 0,-82 0 8 0 0,0 0 1 0 0,0 0-1 0 0,0 0 0 0 0,0 0 0 0 0,1 0 0 0 0,-1 1 1 0 0,0-1-1 0 0,0 0 0 0 0,0 0 0 0 0,0 1 1 0 0,0-1-1 0 0,2 2 0 0 0,-2-2 5 0 0,-1 0 0 0 0,0 0-1 0 0,0 0 1 0 0,1 0 0 0 0,-1 0 0 0 0,0 1 0 0 0,1-1-1 0 0,-1 0 1 0 0,0 0 0 0 0,1 0 0 0 0,-1 0 0 0 0,0 0-1 0 0,1 0 1 0 0,-1 0 0 0 0,0 0 0 0 0,1 0 0 0 0,-1 0-1 0 0,0 0 1 0 0,1 0 0 0 0,-1 0 0 0 0,0-1 0 0 0,1 1-1 0 0,3-1 110 0 0,-2 0-15 0 0,-1 0 0 0 0,1 1-1 0 0,0 0 1 0 0,-1-1 0 0 0,1 1 0 0 0,0 0-1 0 0,0 0 1 0 0,-1 0 0 0 0,3 0 0 0 0,37 0-1297 0 0,-36 0 2114 0 0,-2 0-989 0 0,-1 0-1 0 0,1 0 1 0 0,-1 0 0 0 0,1 0-1 0 0,-1 0 1 0 0,1 1 0 0 0,-1-1 0 0 0,0 1-1 0 0,1 0 1 0 0,2 1 0 0 0,-3-1-82 0 0,-2-1 123 0 0,1 0 1 0 0,-1 1 0 0 0,1-1 0 0 0,-1 0 0 0 0,1 0 0 0 0,-1 1 0 0 0,1-1-1 0 0,-1 0 1 0 0,1 0 0 0 0,0 0 0 0 0,-1 0 0 0 0,1 0 0 0 0,-1 0 0 0 0,1 0 0 0 0,0 0-1 0 0,-1 0 1 0 0,2 0 0 0 0,3 0 44 0 0,-5 0 17 0 0,0 0 0 0 0,0 0 1 0 0,0 0-1 0 0,0 0 0 0 0,1 0 0 0 0,-1 0 0 0 0,0 0 0 0 0,0 0 0 0 0,0 0 0 0 0,0 0 1 0 0,0 1-1 0 0,0-1 0 0 0,1 0 0 0 0,-1 0 0 0 0,0 0 0 0 0,0 0 0 0 0,0 0 1 0 0,0 0-1 0 0,0 0 0 0 0,0 1 0 0 0,0-1 0 0 0,0 0 0 0 0,0 0 0 0 0,0 0 0 0 0,1 0 1 0 0,-1 0-1 0 0,0 1 0 0 0,0-1 0 0 0,0 0 0 0 0,0 0 0 0 0,0 0 0 0 0,0 0 1 0 0,0 1-1 0 0,0-1 0 0 0,-1 10-313 0 0,-7 13-8085 0 0,1-8-427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2:49.556"/>
    </inkml:context>
    <inkml:brush xml:id="br0">
      <inkml:brushProperty name="width" value="0.05" units="cm"/>
      <inkml:brushProperty name="height" value="0.05" units="cm"/>
      <inkml:brushProperty name="color" value="#404040"/>
    </inkml:brush>
  </inkml:definitions>
  <inkml:trace contextRef="#ctx0" brushRef="#br0">103 34 8952 0 0,'0'0'681'0'0,"-1"-1"-469"0"0,-3-7-165 0 0,3 6-32 0 0,0 0 0 0 0,0 0-1 0 0,0 1 1 0 0,0-1 0 0 0,0 0 0 0 0,1 0 0 0 0,-2-6 5206 0 0,2 8-5128 0 0,0 0 1 0 0,0 0 0 0 0,-1 0-1 0 0,1-1 1 0 0,0 1 0 0 0,0 0-1 0 0,0 0 1 0 0,0 0 0 0 0,-1-1-1 0 0,1 1 1 0 0,0 0 0 0 0,0 0-1 0 0,0 0 1 0 0,-1 0 0 0 0,1 0-1 0 0,0-1 1 0 0,0 1 0 0 0,-1 0-1 0 0,1 0 1 0 0,0 0-1 0 0,0 0 1 0 0,-1 0 0 0 0,1 0-1 0 0,-1 0 1 0 0,-1 1-68 0 0,-4 3 1075 0 0,6-4-1074 0 0,-1 0 0 0 0,1 0 0 0 0,0-1 1 0 0,0 1-1 0 0,-1 0 0 0 0,1 0 0 0 0,0 0 0 0 0,0 0 1 0 0,0 0-1 0 0,0 0 0 0 0,-1 0 0 0 0,1 0 0 0 0,0 0 0 0 0,0 0 1 0 0,0-1-1 0 0,-1 1 0 0 0,1 0 0 0 0,0 0 0 0 0,0 0 0 0 0,0 0 1 0 0,0 0-1 0 0,0-1 0 0 0,0 1 0 0 0,-1 0 0 0 0,1 0 1 0 0,0 0-1 0 0,0-1 0 0 0,0 1 0 0 0,0 0 0 0 0,0-1 0 0 0,-1 0 252 0 0,-3 6 105 0 0,1 0-265 0 0,1-1 0 0 0,-1 1-1 0 0,1-1 1 0 0,0 1 0 0 0,1 0 0 0 0,-1 0 0 0 0,1 0 0 0 0,-1 6-1 0 0,-5 15 336 0 0,4-15-157 0 0,1 0-1 0 0,0 0 1 0 0,0 0 0 0 0,1 0 0 0 0,1 22 0 0 0,-3 17 87 0 0,-1 141 1378 0 0,5-122-1748 0 0,-1-47 177 0 0,3 22 1 0 0,-1-25 8 0 0,-2 0 1 0 0,-3 29-1 0 0,1 8 83 0 0,5 24 219 0 0,-2-71-444 0 0,-1 1 0 0 0,-2 13-1 0 0,0 9-54 0 0,5 98 114 0 0,-1-96 2 0 0,-5 41-1 0 0,1-6 16 0 0,5 26 45 0 0,-1 7-39 0 0,-3-56-62 0 0,1-34-61 0 0,-4 100 113 0 0,3-51-38 0 0,2-36-51 0 0,3 74 34 0 0,-4 87-11 0 0,1-135 137 0 0,-1 43 254 0 0,-5-25-839 0 0,1 2 360 0 0,2 37 24 0 0,3-58 0 0 0,-1-15 7 0 0,-4 109 50 0 0,-1-99-39 0 0,1-18 5 0 0,0 30 0 0 0,3-5-23 0 0,0 25 0 0 0,1 14 0 0 0,1-24 40 0 0,0-19-16 0 0,4 43 29 0 0,-5 149 22 0 0,-3-190-75 0 0,2-27 0 0 0,1 36 0 0 0,3-7 43 0 0,2 24-22 0 0,-4-66-21 0 0,0 16 0 0 0,-1-17 0 0 0,2 16 0 0 0,3 39 61 0 0,-2-17-58 0 0,-2 46-3 0 0,-1-50 0 0 0,-5 29 0 0 0,0-2 0 0 0,5-53 0 0 0,6 161 0 0 0,-6-139 0 0 0,-1-27 0 0 0,2 14 0 0 0,3 42 64 0 0,-2-23-64 0 0,-1-26 0 0 0,-1 33 0 0 0,-3 86 0 0 0,3-106 0 0 0,-5 41 0 0 0,4-21 0 0 0,3 62 0 0 0,-1-84 0 0 0,-1-18 0 0 0,3 19 0 0 0,-1-12 0 0 0,-1-1 0 0 0,0 1 0 0 0,-3 26 0 0 0,0 5 0 0 0,-3 52 0 0 0,0-28 0 0 0,5-72 0 0 0,4 129 0 0 0,-2-103 0 0 0,-2-17 0 0 0,4 24 0 0 0,-2-19 0 0 0,0 32 0 0 0,-1-14 0 0 0,1 55 0 0 0,-3 61 0 0 0,-1-61 0 0 0,5 120 0 0 0,-1-178 0 0 0,0-21 0 0 0,-2 0 0 0 0,0 12 0 0 0,-1-9 0 0 0,0-8 0 0 0,0 1 0 0 0,1 0 0 0 0,0 8 0 0 0,4 97 0 0 0,-4-88 0 0 0,-5 50 0 0 0,5-27 0 0 0,0 37 0 0 0,-1-35 0 0 0,0-31 0 0 0,1 18 0 0 0,2 86 0 0 0,2-53 0 0 0,-2-41 0 0 0,-2-20 0 0 0,0 1 0 0 0,1-1 0 0 0,1 7 0 0 0,0 0 0 0 0,0 0 0 0 0,-1 0 0 0 0,-2 28 0 0 0,1-12 0 0 0,-4 144 0 0 0,1-72 0 0 0,2-42 0 0 0,1-36 0 0 0,4 51 0 0 0,-4 15 0 0 0,0-84 0 0 0,-3 121 0 0 0,1-40 0 0 0,3-48 0 0 0,3 20 0 0 0,0 3 0 0 0,-2-32 0 0 0,-1-22 0 0 0,0 0 0 0 0,-1 0 0 0 0,-1 16 0 0 0,0-18 0 0 0,1 1 0 0 0,-1-1 0 0 0,1 0 0 0 0,0 1 0 0 0,2 11 0 0 0,-1-6 0 0 0,-1 71 0 0 0,0-82 0 0 0,0 0 0 0 0,1 0 0 0 0,-1 0 0 0 0,0 0 0 0 0,0 0 0 0 0,0 0 0 0 0,0 0 0 0 0,-1 0 0 0 0,1 0 0 0 0,0 0 0 0 0,0 0 0 0 0,-1 0 0 0 0,1 0 0 0 0,-1 1 0 0 0,-1 2 0 0 0,2 0 0 0 0,0 0 0 0 0,0 0 0 0 0,0-1 0 0 0,0 1 0 0 0,2 5 0 0 0,-2-5 0 0 0,1 0 0 0 0,-1 0 0 0 0,1 0 0 0 0,-2 7 0 0 0,0-6 0 0 0,1 1 0 0 0,-1-1 0 0 0,1 0 0 0 0,0 1 0 0 0,1-1 0 0 0,0 8 0 0 0,0-5 0 0 0,0 0 0 0 0,-2 16 0 0 0,1-18 0 0 0,-1 0 0 0 0,1 0 0 0 0,1 0 0 0 0,-1 0 0 0 0,1 1 0 0 0,3 10 0 0 0,-3-12 0 0 0,0 0 0 0 0,1 1 0 0 0,-2-1 0 0 0,1 8 0 0 0,1 2 0 0 0,-2-11 0 0 0,0 0 0 0 0,0 0 0 0 0,-1 6 0 0 0,0 11 0 0 0,3 3 0 0 0,-1 30 0 0 0,-2-21 0 0 0,0-16 0 0 0,2-7 0 0 0,0 5 0 0 0,-2 13 0 0 0,6 1 0 0 0,-5-28 0 0 0,0 1 0 0 0,0 0 0 0 0,1 0 0 0 0,-1-1 0 0 0,0 1 0 0 0,1 0 0 0 0,1 2 0 0 0,-2-2 0 0 0,1-1 0 0 0,0 1 0 0 0,-1 0 0 0 0,1 0 0 0 0,-1 0 0 0 0,0-1 0 0 0,1 5 0 0 0,2 16 0 0 0,-3-12 0 0 0,-3 0 0 0 0,2-6 0 0 0,0 0 0 0 0,0 0 0 0 0,1-1 0 0 0,-1 1 0 0 0,1 0 0 0 0,0 0 0 0 0,0 4 0 0 0,-3 10 64 0 0,2-9-77 0 0,1-7-110 0 0,4-9-1206 0 0,3-1-79 0 0,-6 7 1199 0 0,1 0-1 0 0,-1 0 1 0 0,0 0 0 0 0,0 0-1 0 0,-1 0 1 0 0,1 0 0 0 0,1-2-1 0 0,7-17-1178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2:49.557"/>
    </inkml:context>
    <inkml:brush xml:id="br0">
      <inkml:brushProperty name="width" value="0.05" units="cm"/>
      <inkml:brushProperty name="height" value="0.05" units="cm"/>
      <inkml:brushProperty name="color" value="#404040"/>
    </inkml:brush>
  </inkml:definitions>
  <inkml:trace contextRef="#ctx0" brushRef="#br0">286 42 456 0 0,'-1'-1'-3'0'0,"1"0"1"0"0,-1 1-1 0 0,1-1 1 0 0,-1 0-1 0 0,0 0 1 0 0,1 0-1 0 0,0 0 1 0 0,-1 0-1 0 0,1-1 1 0 0,-12-18 15937 0 0,12 20-15857 0 0,0-1 0 0 0,-1 1 0 0 0,1 0-1 0 0,0 0 1 0 0,0 0 0 0 0,-1 0 0 0 0,1 0 0 0 0,0 0 0 0 0,0-1-1 0 0,-1 1 1 0 0,1 0 0 0 0,0 0 0 0 0,0 0 0 0 0,-1 0 0 0 0,1-1-1 0 0,0 1 1 0 0,0 0 0 0 0,0 0 0 0 0,0-1 0 0 0,-1 1-1 0 0,1 0 1 0 0,0 0 0 0 0,0-1 0 0 0,0 1 0 0 0,0-1 37 0 0,0 1 1 0 0,0 0 0 0 0,-1-1-1 0 0,1 1 1 0 0,0 0 0 0 0,0-1 0 0 0,0 1-1 0 0,0 0 1 0 0,-1 0 0 0 0,1-1-1 0 0,0 1 1 0 0,0 0 0 0 0,0 0-1 0 0,-1-1 1 0 0,1 1 0 0 0,0 0-1 0 0,0 0 1 0 0,-1 0 0 0 0,1 0-1 0 0,0-1 1 0 0,-1 1 0 0 0,1 0-1 0 0,0 0 1 0 0,-1 0 0 0 0,0 0 670 0 0,-3 1-63 0 0,4-1-713 0 0,0 1-1 0 0,0-1 1 0 0,-1 0 0 0 0,1 0-1 0 0,0 0 1 0 0,0 0-1 0 0,0 0 1 0 0,-1 0 0 0 0,1 0-1 0 0,0 0 1 0 0,0 0 0 0 0,0 0-1 0 0,-1 0 1 0 0,1 1-1 0 0,0-1 1 0 0,0 0 0 0 0,0 0-1 0 0,0 0 1 0 0,-1 0 0 0 0,1 1-1 0 0,0-1 1 0 0,0 0-1 0 0,0 0 1 0 0,0 0 0 0 0,0 1-1 0 0,-1 1 29 0 0,0 1-1 0 0,1 0 1 0 0,-1 0 0 0 0,1-1-1 0 0,0 6 1 0 0,-1 2 39 0 0,-1 2 74 0 0,1-4-50 0 0,0 0-1 0 0,0 9 1 0 0,-3 28 403 0 0,1 68 407 0 0,-2-36-382 0 0,4-44-297 0 0,-7 32 0 0 0,1 3 31 0 0,6-53-203 0 0,0-2 34 0 0,-3 21 1 0 0,-11 52 317 0 0,-5 126 0 0 0,18-62-203 0 0,3-83-117 0 0,-6 7 42 0 0,-7 140 132 0 0,6-88-143 0 0,5-74-86 0 0,0 21 42 0 0,-2 44 85 0 0,1-25-50 0 0,2-60-62 0 0,-3 38 1 0 0,-13 167 133 0 0,11-104-44 0 0,1-4-129 0 0,-1-63 30 0 0,1-24-22 0 0,-3 133 43 0 0,5-84-64 0 0,2-44 0 0 0,-7 58 0 0 0,5-74 20 0 0,0 44-1 0 0,1 2 6 0 0,-3 65-25 0 0,-3 35 0 0 0,2-59 56 0 0,5-84-32 0 0,-1-1 0 0 0,-6 37 0 0 0,5-48-24 0 0,0 1 0 0 0,1 32 0 0 0,1 9 0 0 0,-1-43 0 0 0,-5 136 0 0 0,6 50 0 0 0,-5-134 0 0 0,2 1 0 0 0,-1-24 0 0 0,2-9 0 0 0,-1 36 67 0 0,-1 45 42 0 0,1 39-109 0 0,0-119 0 0 0,2-29 0 0 0,0 0 0 0 0,2 20 0 0 0,0-18-7 0 0,-2 19 1 0 0,0-4-41 0 0,-4 114 35 0 0,5 335 12 0 0,-2-420 0 0 0,1 28 0 0 0,1-10 67 0 0,-1-57-60 0 0,3 20 0 0 0,0 2-8 0 0,-1 0 0 0 0,-5 101-78 0 0,2-111 79 0 0,2 34 0 0 0,0 12 0 0 0,-7 124 0 0 0,7 100 0 0 0,1-278 0 0 0,0-11 0 0 0,-2 17 0 0 0,1-19 0 0 0,0 0 0 0 0,2 17 0 0 0,0-1 0 0 0,1 14 0 0 0,1 34 0 0 0,1 33 0 0 0,1-37 0 0 0,-4-50 0 0 0,2 2 0 0 0,-2-14 0 0 0,-1 0 0 0 0,1 11 0 0 0,1 37 0 0 0,1 5 0 0 0,-3-47 0 0 0,-1 16 0 0 0,0-18 0 0 0,1 0 0 0 0,2 18 0 0 0,2 24 19 0 0,-3-30 22 0 0,0 7-28 0 0,-2-16-13 0 0,3 17-1 0 0,-1-23 1 0 0,-1 21 0 0 0,0 2 0 0 0,3 12 0 0 0,4 34 0 0 0,-6-67 0 0 0,-2-10 0 0 0,1 1 0 0 0,-1-1 0 0 0,1 1 0 0 0,-1-1 0 0 0,1 1 0 0 0,0-1 0 0 0,2 4 0 0 0,-2-1 0 0 0,1-1 0 0 0,-1 1 0 0 0,0 0 0 0 0,-1 0 0 0 0,1 0 0 0 0,-1 0 0 0 0,0-1 0 0 0,-1 10 0 0 0,0 2 0 0 0,1-1 0 0 0,1-3 0 0 0,-1 1 0 0 0,-1-1 0 0 0,-2 14 0 0 0,2-23 0 0 0,1-1 0 0 0,0 0 0 0 0,0 0 0 0 0,0 0 0 0 0,0 1 0 0 0,1-1 0 0 0,0 4 0 0 0,1 10 0 0 0,-2 2 0 0 0,-3 29 0 0 0,2-41 0 0 0,1 0 0 0 0,0 0 0 0 0,0 0 0 0 0,1 0 0 0 0,2 10 0 0 0,-1-8 0 0 0,-1 0 0 0 0,1 11 0 0 0,1 62 0 0 0,0-56 0 0 0,-3-19 0 0 0,1-1 0 0 0,0 0 0 0 0,-1 1 0 0 0,0-1 0 0 0,-1 9 0 0 0,0-12 0 0 0,0 7 0 0 0,-1 0 0 0 0,1 1 0 0 0,0-1 0 0 0,1 0 0 0 0,0 1 0 0 0,1 12 0 0 0,0-20 0 0 0,-1 0 0 0 0,0 0 0 0 0,0-1 0 0 0,0 1 0 0 0,0 0 0 0 0,0-1 0 0 0,0 1 0 0 0,-1 2 0 0 0,0-2 0 0 0,1-1 0 0 0,0 1 0 0 0,-1 0 0 0 0,1-1 0 0 0,0 1 0 0 0,0-1 0 0 0,0 4 0 0 0,1-2 0 0 0,0 1 0 0 0,-1 0 0 0 0,0 0 0 0 0,0 0 0 0 0,0 0 0 0 0,0-1 0 0 0,-2 8 0 0 0,1-3 0 0 0,1 1 0 0 0,-1-1 0 0 0,2 13 0 0 0,0-1 0 0 0,-1-18 0 0 0,0 0 0 0 0,0 0 0 0 0,0 0 0 0 0,0 0 0 0 0,0 1 0 0 0,0-1 0 0 0,2 2 0 0 0,-2-2 0 0 0,0 0 0 0 0,1 0 0 0 0,-1-1 0 0 0,0 1 0 0 0,0 0 0 0 0,0 0 0 0 0,0 2 0 0 0,4 15 0 0 0,-4-9 0 0 0,-2-4 0 0 0,0 8 0 0 0,-1 4 0 0 0,3-14 0 0 0,0 0 0 0 0,2 9 0 0 0,-1 6 0 0 0,-1-10 11 0 0,-1-5 31 0 0,-1 3-46 0 0,2-5-94 0 0,11-20-5878 0 0,-7 7-2702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2:49.558"/>
    </inkml:context>
    <inkml:brush xml:id="br0">
      <inkml:brushProperty name="width" value="0.05" units="cm"/>
      <inkml:brushProperty name="height" value="0.05" units="cm"/>
      <inkml:brushProperty name="color" value="#404040"/>
    </inkml:brush>
  </inkml:definitions>
  <inkml:trace contextRef="#ctx0" brushRef="#br0">1 1 6072 0 0,'0'0'13007'0'0,"0"0"-12960"0"0,0 0 0 0 0,0 1 0 0 0,1-1-1 0 0,-1 1 1 0 0,1-1 0 0 0,-1 0 0 0 0,0 0 0 0 0,1 1-1 0 0,-1-1 1 0 0,1 0 0 0 0,-1 1 0 0 0,1-1-1 0 0,4 0 122 0 0,-1 1 0 0 0,0-1 0 0 0,1 1 0 0 0,-1 0 0 0 0,5 2 0 0 0,2-2 479 0 0,-4-1-446 0 0,7 1 285 0 0,-12-1-428 0 0,0 0 0 0 0,0 0 0 0 0,0 0 0 0 0,0 0 0 0 0,-1 0-1 0 0,1 1 1 0 0,0-1 0 0 0,2 2 0 0 0,4 0 106 0 0,0 0 0 0 0,0 0 0 0 0,0-1 1 0 0,9 0-1 0 0,0 1 32 0 0,17 0 168 0 0,-21-2-191 0 0,14 2 1 0 0,2 1 65 0 0,-21-3-156 0 0,1 1 0 0 0,11 2 0 0 0,-9-1 22 0 0,1 0 0 0 0,14 0 1 0 0,11 1 246 0 0,-16-1 4 0 0,30 0 1 0 0,7 0-193 0 0,38-1 340 0 0,-52-1-304 0 0,-11-2-3 0 0,41-6 0 0 0,-11 0-34 0 0,-22 3-84 0 0,46-2 117 0 0,-66 7-76 0 0,28-5 0 0 0,-26 3-95 0 0,0 1-1 0 0,25 1 0 0 0,-13 1-17 0 0,-24-2 27 0 0,15-2 0 0 0,-15 1 20 0 0,15 0 0 0 0,104 2-126 0 0,-62 3 72 0 0,-52-3 0 0 0,6 0 0 0 0,24-2 0 0 0,-30 0 0 0 0,22 2 0 0 0,-22 1 0 0 0,26-3 0 0 0,-33 1 0 0 0,0 1 0 0 0,-1 1 0 0 0,1 0 0 0 0,13 3 0 0 0,-22-4 0 0 0,9 1 24 0 0,0 1 0 0 0,0-1 0 0 0,0-1 0 0 0,0 0 0 0 0,0 0 0 0 0,16-3 0 0 0,-13 3-24 0 0,-3 2 0 0 0,1-1 0 0 0,-1 0 0 0 0,18-1 0 0 0,-6 0 0 0 0,138 0 8 0 0,-130-5-8 0 0,121 5 0 0 0,-118-1 0 0 0,-20-1 0 0 0,0 2 0 0 0,15 1 0 0 0,-9 0 0 0 0,26-2 0 0 0,-25 0 0 0 0,29 2 0 0 0,-32 2 0 0 0,8 1 0 0 0,494-4 296 0 0,-459 4-244 0 0,2-1-24 0 0,45 1-28 0 0,-99-4 0 0 0,0 0 0 0 0,10 3 0 0 0,-10-1 0 0 0,0-1 0 0 0,10 0 0 0 0,-12-1 1 0 0,7 0 21 0 0,-1 0 0 0 0,23-4 0 0 0,-31 4-11 0 0,0-1 1 0 0,1 1-1 0 0,-1 0 0 0 0,6 0 1 0 0,6 0 8 0 0,130-6-20 0 0,-138 6 11 0 0,1 0-1 0 0,10-3 1 0 0,-10 1 0 0 0,-1 1-1 0 0,12 0 1 0 0,125 1 53 0 0,-135 0-64 0 0,16 4 0 0 0,6-1 0 0 0,3-3 38 0 0,70 3 201 0 0,-85-2-248 0 0,36-3-1 0 0,-9 0-8 0 0,-6-2 18 0 0,-19 4-36 0 0,22 4 0 0 0,-25-3 36 0 0,27-1 0 0 0,-31-1 0 0 0,0 1 0 0 0,0 0 0 0 0,21 4 0 0 0,-26-3 9 0 0,1 0 1 0 0,0 0-1 0 0,16-2 0 0 0,-13 1 5 0 0,19 1-1 0 0,62 10-77 0 0,-64-9 64 0 0,-20-2 0 0 0,16 3 0 0 0,-11 0 0 0 0,-7-1 0 0 0,0-1 0 0 0,1 1 0 0 0,-1-1 0 0 0,1-1 0 0 0,9 0 0 0 0,-6-1 0 0 0,24 2 0 0 0,-8 0 0 0 0,-24-1 0 0 0,93 3 0 0 0,-26 1 53 0 0,-53-4-68 0 0,28-1 0 0 0,-8-1-8 0 0,-15 0 23 0 0,-20 1 0 0 0,0 1 0 0 0,-1-1 0 0 0,1 1 0 0 0,0 0 0 0 0,0 0 0 0 0,4 0 0 0 0,6 2 59 0 0,23 0-1 0 0,-23-1-46 0 0,-9-1-23 0 0,-1 0 1 0 0,0 1-1 0 0,1-2 0 0 0,4 1 0 0 0,-5-1 1 0 0,-1 1 7 0 0,14 3 5 0 0,-8-3 17 0 0,20 4 26 0 0,-3-1-45 0 0,-24-2-3 0 0,1-1 0 0 0,0 1 0 0 0,0-1 0 0 0,0 0 0 0 0,0 0 0 0 0,0 0 0 0 0,0 0-1 0 0,3-1 1 0 0,-1 1-22 0 0,6 2 21 0 0,6-1 27 0 0,21 7 0 0 0,33 6-12 0 0,-11-11-75 0 0,3-2 64 0 0,-39-1 0 0 0,90-3 0 0 0,-101 3 3 0 0,0 0-1 0 0,0 2 1 0 0,21 3 0 0 0,-22-3 6 0 0,0 0 1 0 0,1-1-1 0 0,-1-1 1 0 0,18-1-1 0 0,-3 1-3 0 0,56 0-70 0 0,-72-1 64 0 0,16-2 0 0 0,-16 1 0 0 0,15 0 0 0 0,43-1 0 0 0,-57 2 0 0 0,-8 0 0 0 0,0 1 0 0 0,0 0 0 0 0,0 0 0 0 0,1 0 0 0 0,5 1 0 0 0,0 0 0 0 0,0 0 0 0 0,0-1 0 0 0,14 0 0 0 0,1-1 0 0 0,16-4 0 0 0,-26 4 0 0 0,2 0 0 0 0,-7 2 0 0 0,0-1 0 0 0,1 0 0 0 0,15-1 0 0 0,-23 0 6 0 0,1 1 0 0 0,-1-1 0 0 0,1 1 0 0 0,0 0 0 0 0,-1 0 0 0 0,1 0 0 0 0,2 1 0 0 0,1-1 10 0 0,29 0-16 0 0,6 0 0 0 0,-8 0 0 0 0,-30 0 0 0 0,-1 0 0 0 0,0 0 0 0 0,0 1 0 0 0,0-1 0 0 0,0 0 0 0 0,0 1 0 0 0,4 1 0 0 0,8 3 0 0 0,-10-5 0 0 0,-1-1 0 0 0,17 1 0 0 0,-9 0 0 0 0,-1 0 0 0 0,1 0 0 0 0,-2 0 0 0 0,2 0 0 0 0,-2 0 0 0 0,0 0 0 0 0,-1 0 0 0 0,0 0 0 0 0,0 0 0 0 0,-1 0 11 0 0,-5 0 213 0 0,-3 0-1172 0 0,-1 0 575 0 0,1 0 0 0 0,0 1 0 0 0,0-1 0 0 0,0 0-1 0 0,-1 1 1 0 0,1-1 0 0 0,0 1 0 0 0,0 0 0 0 0,0-1 0 0 0,-2 2 0 0 0,-3 2-4243 0 0,-6 0-3982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2:49.559"/>
    </inkml:context>
    <inkml:brush xml:id="br0">
      <inkml:brushProperty name="width" value="0.05" units="cm"/>
      <inkml:brushProperty name="height" value="0.05" units="cm"/>
      <inkml:brushProperty name="color" value="#404040"/>
    </inkml:brush>
  </inkml:definitions>
  <inkml:trace contextRef="#ctx0" brushRef="#br0">0 92 4608 0 0,'0'0'12602'0'0,"2"0"-12453"0"0,-1 0-135 0 0,1 1-18 0 0,9-6 82 0 0,-10 4 293 0 0,6 1 282 0 0,-2 0-517 0 0,0 0 0 0 0,0 0 0 0 0,0 0 0 0 0,0 1 0 0 0,0 0 0 0 0,6 2 0 0 0,-5-2-29 0 0,-1 0-1 0 0,1 0 0 0 0,0 0 1 0 0,-1-1-1 0 0,1 0 1 0 0,0 0-1 0 0,-1 0 0 0 0,1-1 1 0 0,7-1-1 0 0,0 0 270 0 0,48-7 259 0 0,42-5-219 0 0,-12 6 924 0 0,-29 2-1075 0 0,71 0-265 0 0,-120 6-10 0 0,1 0 0 0 0,0 1-1 0 0,20 4 1 0 0,-18-2 496 0 0,29 1 0 0 0,-30-3 54 0 0,20 3 1 0 0,-10 0-505 0 0,-5-2-36 0 0,-8 0 0 0 0,17 1 0 0 0,-7-3 0 0 0,105-3 0 0 0,23 2 0 0 0,-81 1 0 0 0,35-4 0 0 0,-81 4 134 0 0,2 1 504 0 0,0-2 0 0 0,45-7 0 0 0,-15-1-638 0 0,74-4 0 0 0,-54 6 0 0 0,35 0 0 0 0,-36 6 0 0 0,-44 2 0 0 0,65 3 0 0 0,-86-4 0 0 0,23 0 0 0 0,37-4 0 0 0,-40 1 0 0 0,-1 1 0 0 0,34 3 0 0 0,-17-1 0 0 0,301 4 0 0 0,-184-11 0 0 0,-77 2 0 0 0,-50 2 0 0 0,1 0 0 0 0,79-4 0 0 0,14 10 0 0 0,-37 0 0 0 0,-60 0 0 0 0,-14-1 0 0 0,4 2 0 0 0,-15-3 0 0 0,1 0 0 0 0,8 0 0 0 0,66 2 0 0 0,-19 1 0 0 0,6-1 0 0 0,-41-1 0 0 0,23-1 0 0 0,-25-1 0 0 0,41 6 0 0 0,-40-3 0 0 0,0-1 0 0 0,1-1 0 0 0,47-4 0 0 0,-3 1 0 0 0,-7 1 0 0 0,42 2 0 0 0,-41 1 0 0 0,-2 3 0 0 0,-21 0 0 0 0,2 0 0 0 0,-28-2 0 0 0,25 0 0 0 0,-6 0 0 0 0,-27-2 0 0 0,1 0 0 0 0,-1-1 0 0 0,17-1 0 0 0,-20 0 63 0 0,0 1 1 0 0,0-1-1 0 0,-1 1 0 0 0,1 0 0 0 0,0 1 1 0 0,6 0-1 0 0,24 1 1057 0 0,-7-1-1070 0 0,-23 0-316 0 0,0-1-1 0 0,10-2 0 0 0,7 1-325 0 0,4 1 504 0 0,98-4 11 0 0,-119 4 77 0 0,0 0 0 0 0,1 0 0 0 0,8 2 0 0 0,9 0 0 0 0,71 1 0 0 0,-85-3 0 0 0,1 1 0 0 0,12 3 0 0 0,-13-2 0 0 0,0 0 0 0 0,12 0 0 0 0,-13-2 0 0 0,0 1 0 0 0,0 0 0 0 0,10 3 0 0 0,13 2 0 0 0,31-2 0 0 0,83-5 0 0 0,-52-2 0 0 0,34 2 0 0 0,-69 2 0 0 0,-30 0 0 0 0,44 8 0 0 0,-62-8 0 0 0,1 0 0 0 0,12-1 0 0 0,-12 0 0 0 0,17 1 0 0 0,-19 0 0 0 0,1-1 0 0 0,20-2 0 0 0,4 0 0 0 0,-22 2 0 0 0,15-3 0 0 0,-15 1 0 0 0,15 0 0 0 0,54-1 0 0 0,-53-2 0 0 0,37 5 0 0 0,-64 0 0 0 0,-1 0 0 0 0,1 0 0 0 0,0 1 0 0 0,-1-1 0 0 0,1 0 0 0 0,0 1 0 0 0,2 0 0 0 0,0 0 0 0 0,-1 0 0 0 0,1 0 0 0 0,-1 0 0 0 0,1-1 0 0 0,0 1 0 0 0,-1-1 0 0 0,7 0 0 0 0,44 3 0 0 0,-42-3 0 0 0,-5-1 0 0 0,0 1 0 0 0,12 2 0 0 0,4 3 0 0 0,-21-4 0 0 0,0-1 0 0 0,0 1 0 0 0,0-1 0 0 0,0 0 0 0 0,0 0 0 0 0,0 0 0 0 0,3 0 0 0 0,10 1 0 0 0,3 3 0 0 0,-15-3 0 0 0,-2-1 0 0 0,-1 1 0 0 0,1-1 0 0 0,0 1 0 0 0,0-1 0 0 0,-1 0 0 0 0,1 1 0 0 0,0-1 0 0 0,0 0 0 0 0,0 0 0 0 0,0 1 0 0 0,-1-1 0 0 0,1 0 0 0 0,2 0 0 0 0,-1 0 0 0 0,-1 1 0 0 0,1-1 0 0 0,0 0 0 0 0,0 1 0 0 0,-1-1 0 0 0,1 0 0 0 0,0 0 0 0 0,0 0 0 0 0,2-1 0 0 0,1 0 0 0 0,20 1 0 0 0,58 0 0 0 0,-82 0 8 0 0,0 0 1 0 0,0 0-1 0 0,0 0 0 0 0,0 0 0 0 0,1 0 0 0 0,-1 1 1 0 0,0-1-1 0 0,0 0 0 0 0,0 0 0 0 0,0 1 1 0 0,0-1-1 0 0,2 2 0 0 0,-2-2 5 0 0,-1 0 0 0 0,0 0-1 0 0,0 0 1 0 0,1 0 0 0 0,-1 0 0 0 0,0 1 0 0 0,1-1-1 0 0,-1 0 1 0 0,0 0 0 0 0,1 0 0 0 0,-1 0 0 0 0,0 0-1 0 0,1 0 1 0 0,-1 0 0 0 0,0 0 0 0 0,1 0 0 0 0,-1 0-1 0 0,0 0 1 0 0,1 0 0 0 0,-1 0 0 0 0,0-1 0 0 0,1 1-1 0 0,3-1 110 0 0,-2 0-15 0 0,-1 0 0 0 0,1 1-1 0 0,0 0 1 0 0,-1-1 0 0 0,1 1 0 0 0,0 0-1 0 0,0 0 1 0 0,-1 0 0 0 0,3 0 0 0 0,37 0-1297 0 0,-36 0 2114 0 0,-2 0-989 0 0,-1 0-1 0 0,1 0 1 0 0,-1 0 0 0 0,1 0-1 0 0,-1 0 1 0 0,1 1 0 0 0,-1-1 0 0 0,0 1-1 0 0,1 0 1 0 0,2 1 0 0 0,-3-1-82 0 0,-2-1 123 0 0,1 0 1 0 0,-1 1 0 0 0,1-1 0 0 0,-1 0 0 0 0,1 0 0 0 0,-1 1 0 0 0,1-1-1 0 0,-1 0 1 0 0,1 0 0 0 0,0 0 0 0 0,-1 0 0 0 0,1 0 0 0 0,-1 0 0 0 0,1 0 0 0 0,0 0-1 0 0,-1 0 1 0 0,2 0 0 0 0,3 0 44 0 0,-5 0 17 0 0,0 0 0 0 0,0 0 1 0 0,0 0-1 0 0,0 0 0 0 0,1 0 0 0 0,-1 0 0 0 0,0 0 0 0 0,0 0 0 0 0,0 0 0 0 0,0 0 1 0 0,0 1-1 0 0,0-1 0 0 0,1 0 0 0 0,-1 0 0 0 0,0 0 0 0 0,0 0 0 0 0,0 0 1 0 0,0 0-1 0 0,0 0 0 0 0,0 1 0 0 0,0-1 0 0 0,0 0 0 0 0,0 0 0 0 0,0 0 0 0 0,1 0 1 0 0,-1 0-1 0 0,0 1 0 0 0,0-1 0 0 0,0 0 0 0 0,0 0 0 0 0,0 0 0 0 0,0 0 1 0 0,0 1-1 0 0,0-1 0 0 0,-1 10-313 0 0,-7 13-8085 0 0,1-8-427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3-14T14:49:28.055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103 34 8952 0 0,'0'0'681'0'0,"-1"-1"-469"0"0,-3-7-165 0 0,3 6-32 0 0,0 0 0 0 0,0 0-1 0 0,0 1 1 0 0,0-1 0 0 0,0 0 0 0 0,1 0 0 0 0,-2-6 5206 0 0,2 8-5128 0 0,0 0 1 0 0,0 0 0 0 0,-1 0-1 0 0,1-1 1 0 0,0 1 0 0 0,0 0-1 0 0,0 0 1 0 0,0 0 0 0 0,-1-1-1 0 0,1 1 1 0 0,0 0 0 0 0,0 0-1 0 0,0 0 1 0 0,-1 0 0 0 0,1 0-1 0 0,0-1 1 0 0,0 1 0 0 0,-1 0-1 0 0,1 0 1 0 0,0 0-1 0 0,0 0 1 0 0,-1 0 0 0 0,1 0-1 0 0,-1 0 1 0 0,-1 1-68 0 0,-4 3 1075 0 0,6-4-1074 0 0,-1 0 0 0 0,1 0 0 0 0,0-1 1 0 0,0 1-1 0 0,-1 0 0 0 0,1 0 0 0 0,0 0 0 0 0,0 0 1 0 0,0 0-1 0 0,0 0 0 0 0,-1 0 0 0 0,1 0 0 0 0,0 0 0 0 0,0 0 1 0 0,0-1-1 0 0,-1 1 0 0 0,1 0 0 0 0,0 0 0 0 0,0 0 0 0 0,0 0 1 0 0,0 0-1 0 0,0-1 0 0 0,0 1 0 0 0,-1 0 0 0 0,1 0 1 0 0,0 0-1 0 0,0-1 0 0 0,0 1 0 0 0,0 0 0 0 0,0-1 0 0 0,-1 0 252 0 0,-3 6 105 0 0,1 0-265 0 0,1-1 0 0 0,-1 1-1 0 0,1-1 1 0 0,0 1 0 0 0,1 0 0 0 0,-1 0 0 0 0,1 0 0 0 0,-1 6-1 0 0,-5 15 336 0 0,4-15-157 0 0,1 0-1 0 0,0 0 1 0 0,0 0 0 0 0,1 0 0 0 0,1 22 0 0 0,-3 17 87 0 0,-1 141 1378 0 0,5-122-1748 0 0,-1-47 177 0 0,3 22 1 0 0,-1-25 8 0 0,-2 0 1 0 0,-3 29-1 0 0,1 8 83 0 0,5 24 219 0 0,-2-71-444 0 0,-1 1 0 0 0,-2 13-1 0 0,0 9-54 0 0,5 98 114 0 0,-1-96 2 0 0,-5 41-1 0 0,1-6 16 0 0,5 26 45 0 0,-1 7-39 0 0,-3-56-62 0 0,1-34-61 0 0,-4 100 113 0 0,3-51-38 0 0,2-36-51 0 0,3 74 34 0 0,-4 87-11 0 0,1-135 137 0 0,-1 43 254 0 0,-5-25-839 0 0,1 2 360 0 0,2 37 24 0 0,3-58 0 0 0,-1-15 7 0 0,-4 109 50 0 0,-1-99-39 0 0,1-18 5 0 0,0 30 0 0 0,3-5-23 0 0,0 25 0 0 0,1 14 0 0 0,1-24 40 0 0,0-19-16 0 0,4 43 29 0 0,-5 149 22 0 0,-3-190-75 0 0,2-27 0 0 0,1 36 0 0 0,3-7 43 0 0,2 24-22 0 0,-4-66-21 0 0,0 16 0 0 0,-1-17 0 0 0,2 16 0 0 0,3 39 61 0 0,-2-17-58 0 0,-2 46-3 0 0,-1-50 0 0 0,-5 29 0 0 0,0-2 0 0 0,5-53 0 0 0,6 161 0 0 0,-6-139 0 0 0,-1-27 0 0 0,2 14 0 0 0,3 42 64 0 0,-2-23-64 0 0,-1-26 0 0 0,-1 33 0 0 0,-3 86 0 0 0,3-106 0 0 0,-5 41 0 0 0,4-21 0 0 0,3 62 0 0 0,-1-84 0 0 0,-1-18 0 0 0,3 19 0 0 0,-1-12 0 0 0,-1-1 0 0 0,0 1 0 0 0,-3 26 0 0 0,0 5 0 0 0,-3 52 0 0 0,0-28 0 0 0,5-72 0 0 0,4 129 0 0 0,-2-103 0 0 0,-2-17 0 0 0,4 24 0 0 0,-2-19 0 0 0,0 32 0 0 0,-1-14 0 0 0,1 55 0 0 0,-3 61 0 0 0,-1-61 0 0 0,5 120 0 0 0,-1-178 0 0 0,0-21 0 0 0,-2 0 0 0 0,0 12 0 0 0,-1-9 0 0 0,0-8 0 0 0,0 1 0 0 0,1 0 0 0 0,0 8 0 0 0,4 97 0 0 0,-4-88 0 0 0,-5 50 0 0 0,5-27 0 0 0,0 37 0 0 0,-1-35 0 0 0,0-31 0 0 0,1 18 0 0 0,2 86 0 0 0,2-53 0 0 0,-2-41 0 0 0,-2-20 0 0 0,0 1 0 0 0,1-1 0 0 0,1 7 0 0 0,0 0 0 0 0,0 0 0 0 0,-1 0 0 0 0,-2 28 0 0 0,1-12 0 0 0,-4 144 0 0 0,1-72 0 0 0,2-42 0 0 0,1-36 0 0 0,4 51 0 0 0,-4 15 0 0 0,0-84 0 0 0,-3 121 0 0 0,1-40 0 0 0,3-48 0 0 0,3 20 0 0 0,0 3 0 0 0,-2-32 0 0 0,-1-22 0 0 0,0 0 0 0 0,-1 0 0 0 0,-1 16 0 0 0,0-18 0 0 0,1 1 0 0 0,-1-1 0 0 0,1 0 0 0 0,0 1 0 0 0,2 11 0 0 0,-1-6 0 0 0,-1 71 0 0 0,0-82 0 0 0,0 0 0 0 0,1 0 0 0 0,-1 0 0 0 0,0 0 0 0 0,0 0 0 0 0,0 0 0 0 0,0 0 0 0 0,-1 0 0 0 0,1 0 0 0 0,0 0 0 0 0,0 0 0 0 0,-1 0 0 0 0,1 0 0 0 0,-1 1 0 0 0,-1 2 0 0 0,2 0 0 0 0,0 0 0 0 0,0 0 0 0 0,0-1 0 0 0,0 1 0 0 0,2 5 0 0 0,-2-5 0 0 0,1 0 0 0 0,-1 0 0 0 0,1 0 0 0 0,-2 7 0 0 0,0-6 0 0 0,1 1 0 0 0,-1-1 0 0 0,1 0 0 0 0,0 1 0 0 0,1-1 0 0 0,0 8 0 0 0,0-5 0 0 0,0 0 0 0 0,-2 16 0 0 0,1-18 0 0 0,-1 0 0 0 0,1 0 0 0 0,1 0 0 0 0,-1 0 0 0 0,1 1 0 0 0,3 10 0 0 0,-3-12 0 0 0,0 0 0 0 0,1 1 0 0 0,-2-1 0 0 0,1 8 0 0 0,1 2 0 0 0,-2-11 0 0 0,0 0 0 0 0,0 0 0 0 0,-1 6 0 0 0,0 11 0 0 0,3 3 0 0 0,-1 30 0 0 0,-2-21 0 0 0,0-16 0 0 0,2-7 0 0 0,0 5 0 0 0,-2 13 0 0 0,6 1 0 0 0,-5-28 0 0 0,0 1 0 0 0,0 0 0 0 0,1 0 0 0 0,-1-1 0 0 0,0 1 0 0 0,1 0 0 0 0,1 2 0 0 0,-2-2 0 0 0,1-1 0 0 0,0 1 0 0 0,-1 0 0 0 0,1 0 0 0 0,-1 0 0 0 0,0-1 0 0 0,1 5 0 0 0,2 16 0 0 0,-3-12 0 0 0,-3 0 0 0 0,2-6 0 0 0,0 0 0 0 0,0 0 0 0 0,1-1 0 0 0,-1 1 0 0 0,1 0 0 0 0,0 0 0 0 0,0 4 0 0 0,-3 10 64 0 0,2-9-77 0 0,1-7-110 0 0,4-9-1206 0 0,3-1-79 0 0,-6 7 1199 0 0,1 0-1 0 0,-1 0 1 0 0,0 0 0 0 0,0 0-1 0 0,-1 0 1 0 0,1 0 0 0 0,1-2-1 0 0,7-17-1178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A6E7CCD5-C37C-DF4C-BE58-86A96882FE8B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>
            <a:lvl1pPr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F76D49C8-D3B8-4347-A2B9-95DE667C102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625850" y="0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>
            <a:lvl1pPr algn="r"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3556" name="Rectangle 4">
            <a:extLst>
              <a:ext uri="{FF2B5EF4-FFF2-40B4-BE49-F238E27FC236}">
                <a16:creationId xmlns:a16="http://schemas.microsoft.com/office/drawing/2014/main" id="{18B53A46-1A6E-7A44-8C07-900AA95838D4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4800" y="650875"/>
            <a:ext cx="5791200" cy="3257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49F3F102-AEDE-6543-BF94-95F111C3617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39763" y="4125913"/>
            <a:ext cx="5121275" cy="3910012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noProof="0"/>
              <a:t>Textmasterformate durch Klicken bearbeiten</a:t>
            </a:r>
          </a:p>
          <a:p>
            <a:pPr lvl="1"/>
            <a:r>
              <a:rPr lang="de-CH" altLang="de-DE" noProof="0"/>
              <a:t>Zweite Ebene</a:t>
            </a:r>
          </a:p>
          <a:p>
            <a:pPr lvl="2"/>
            <a:r>
              <a:rPr lang="de-CH" altLang="de-DE" noProof="0"/>
              <a:t>Dritte Ebene</a:t>
            </a:r>
          </a:p>
          <a:p>
            <a:pPr lvl="3"/>
            <a:r>
              <a:rPr lang="de-CH" altLang="de-DE" noProof="0"/>
              <a:t>Vierte Ebene</a:t>
            </a:r>
          </a:p>
          <a:p>
            <a:pPr lvl="4"/>
            <a:r>
              <a:rPr lang="de-CH" altLang="de-DE" noProof="0"/>
              <a:t>Fünfte Ebene</a:t>
            </a:r>
          </a:p>
        </p:txBody>
      </p:sp>
      <p:sp>
        <p:nvSpPr>
          <p:cNvPr id="4102" name="Rectangle 6">
            <a:extLst>
              <a:ext uri="{FF2B5EF4-FFF2-40B4-BE49-F238E27FC236}">
                <a16:creationId xmlns:a16="http://schemas.microsoft.com/office/drawing/2014/main" id="{193C457E-5DA3-0946-9224-320E721EF568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250238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b" anchorCtr="0" compatLnSpc="1">
            <a:prstTxWarp prst="textNoShape">
              <a:avLst/>
            </a:prstTxWarp>
          </a:bodyPr>
          <a:lstStyle>
            <a:lvl1pPr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3" name="Rectangle 7">
            <a:extLst>
              <a:ext uri="{FF2B5EF4-FFF2-40B4-BE49-F238E27FC236}">
                <a16:creationId xmlns:a16="http://schemas.microsoft.com/office/drawing/2014/main" id="{027B88F2-4789-D844-8C8D-013C1FC25F5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25850" y="8250238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b" anchorCtr="0" compatLnSpc="1">
            <a:prstTxWarp prst="textNoShape">
              <a:avLst/>
            </a:prstTxWarp>
          </a:bodyPr>
          <a:lstStyle>
            <a:lvl1pPr algn="r" defTabSz="862013" eaLnBrk="1" hangingPunct="1">
              <a:defRPr sz="1100" smtClean="0">
                <a:latin typeface="Arial Narrow" panose="020B0604020202020204" pitchFamily="34" charset="0"/>
              </a:defRPr>
            </a:lvl1pPr>
          </a:lstStyle>
          <a:p>
            <a:pPr>
              <a:defRPr/>
            </a:pPr>
            <a:fld id="{54D8EBE3-0B53-DB46-B86F-9CDED2EAED4A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0459497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2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568923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9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40048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17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800964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18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19392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19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827023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22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85481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24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691930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27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874993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8EBE3-0B53-DB46-B86F-9CDED2EAED4A}" type="slidenum">
              <a:rPr lang="de-CH" altLang="de-DE" smtClean="0"/>
              <a:pPr>
                <a:defRPr/>
              </a:pPr>
              <a:t>30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41393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68425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8425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559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1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3612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1149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0461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wisismolu</a:t>
            </a:r>
            <a:r>
              <a:rPr lang="de-DE" dirty="0"/>
              <a:t> 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nulput</a:t>
            </a:r>
            <a:r>
              <a:rPr lang="de-DE" dirty="0"/>
              <a:t> </a:t>
            </a:r>
            <a:r>
              <a:rPr lang="de-DE" dirty="0" err="1"/>
              <a:t>ad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rer</a:t>
            </a:r>
            <a:r>
              <a:rPr lang="de-DE" dirty="0"/>
              <a:t> </a:t>
            </a:r>
            <a:r>
              <a:rPr lang="de-DE" dirty="0" err="1"/>
              <a:t>der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wisismoilui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6171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16018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1963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7738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06458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5640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7278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67381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09433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 dirty="0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46143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67190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2122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67655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823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665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wisismolu</a:t>
            </a:r>
            <a:r>
              <a:rPr lang="de-DE" dirty="0"/>
              <a:t> 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nulput</a:t>
            </a:r>
            <a:r>
              <a:rPr lang="de-DE" dirty="0"/>
              <a:t> </a:t>
            </a:r>
            <a:r>
              <a:rPr lang="de-DE" dirty="0" err="1"/>
              <a:t>ad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rer</a:t>
            </a:r>
            <a:r>
              <a:rPr lang="de-DE" dirty="0"/>
              <a:t> </a:t>
            </a:r>
            <a:r>
              <a:rPr lang="de-DE" dirty="0" err="1"/>
              <a:t>der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wisismoilui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35498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01513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10880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920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722594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754364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68425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8425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023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, Schlus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6412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Schrift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4384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/>
              <a:t>Lauftext </a:t>
            </a:r>
            <a:r>
              <a:rPr lang="de-DE" err="1"/>
              <a:t>gross</a:t>
            </a:r>
            <a:r>
              <a:rPr lang="de-DE"/>
              <a:t>: Arial Narrow, Regular 22 </a:t>
            </a:r>
            <a:r>
              <a:rPr lang="de-DE" err="1"/>
              <a:t>pt</a:t>
            </a:r>
            <a:r>
              <a:rPr lang="de-DE"/>
              <a:t>, Zeilenabstand 28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eram</a:t>
            </a:r>
            <a:r>
              <a:rPr lang="de-DE"/>
              <a:t> </a:t>
            </a:r>
            <a:r>
              <a:rPr lang="de-DE" err="1"/>
              <a:t>desomaon</a:t>
            </a:r>
            <a:r>
              <a:rPr lang="de-DE"/>
              <a:t> </a:t>
            </a:r>
            <a:r>
              <a:rPr lang="de-DE" err="1"/>
              <a:t>esate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ras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983734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 20 </a:t>
            </a:r>
            <a:r>
              <a:rPr lang="de-DE" err="1"/>
              <a:t>pt</a:t>
            </a:r>
            <a:r>
              <a:rPr lang="de-DE"/>
              <a:t>,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eram</a:t>
            </a:r>
            <a:r>
              <a:rPr lang="de-DE"/>
              <a:t> </a:t>
            </a:r>
            <a:r>
              <a:rPr lang="de-DE" err="1"/>
              <a:t>desomaon</a:t>
            </a:r>
            <a:r>
              <a:rPr lang="de-DE"/>
              <a:t> </a:t>
            </a:r>
            <a:r>
              <a:rPr lang="de-DE" err="1"/>
              <a:t>esate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ras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8779877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309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3533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3781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3781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Foliennummernplatzhalter 1">
            <a:extLst>
              <a:ext uri="{FF2B5EF4-FFF2-40B4-BE49-F238E27FC236}">
                <a16:creationId xmlns:a16="http://schemas.microsoft.com/office/drawing/2014/main" id="{371ABE50-6E89-D043-8F5A-FADEDE5AC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4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93827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33195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Schrift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994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endParaRPr lang="de-DE"/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88404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endParaRPr lang="de-DE"/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1599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 Odo del </a:t>
            </a:r>
            <a:r>
              <a:rPr lang="de-DE" err="1"/>
              <a:t>ullam</a:t>
            </a:r>
            <a:r>
              <a:rPr lang="de-DE"/>
              <a:t> Duis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wisismolu</a:t>
            </a:r>
            <a:r>
              <a:rPr lang="de-DE"/>
              <a:t> 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ram</a:t>
            </a:r>
            <a:r>
              <a:rPr lang="de-DE"/>
              <a:t> de </a:t>
            </a:r>
            <a:r>
              <a:rPr lang="de-DE" err="1"/>
              <a:t>deumaser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nulput</a:t>
            </a:r>
            <a:r>
              <a:rPr lang="de-DE"/>
              <a:t> </a:t>
            </a:r>
            <a:r>
              <a:rPr lang="de-DE" err="1"/>
              <a:t>ad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rer</a:t>
            </a:r>
            <a:r>
              <a:rPr lang="de-DE"/>
              <a:t> </a:t>
            </a:r>
            <a:r>
              <a:rPr lang="de-DE" err="1"/>
              <a:t>deranumaser</a:t>
            </a:r>
            <a:r>
              <a:rPr lang="de-DE"/>
              <a:t>. Odo del </a:t>
            </a:r>
            <a:r>
              <a:rPr lang="de-DE" err="1"/>
              <a:t>ullam</a:t>
            </a:r>
            <a:r>
              <a:rPr lang="de-DE"/>
              <a:t> Duis </a:t>
            </a:r>
            <a:r>
              <a:rPr lang="de-DE" err="1"/>
              <a:t>wisismoilui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ram</a:t>
            </a:r>
            <a:r>
              <a:rPr lang="de-DE"/>
              <a:t> de </a:t>
            </a:r>
            <a:r>
              <a:rPr lang="de-DE" err="1"/>
              <a:t>deumaser</a:t>
            </a:r>
            <a:r>
              <a:rPr lang="de-DE"/>
              <a:t>.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81417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8294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14046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/>
              <a:t>Lauftext </a:t>
            </a:r>
            <a:r>
              <a:rPr lang="de-DE" err="1"/>
              <a:t>gross</a:t>
            </a:r>
            <a:r>
              <a:rPr lang="de-DE"/>
              <a:t>: Arial Narrow, Regular 22 </a:t>
            </a:r>
            <a:r>
              <a:rPr lang="de-DE" err="1"/>
              <a:t>pt</a:t>
            </a:r>
            <a:r>
              <a:rPr lang="de-DE"/>
              <a:t>, Zeilenabstand 28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0220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24931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, Schlus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2316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5163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2344549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98249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 dirty="0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05270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838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4.jp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4.jpg"/><Relationship Id="rId2" Type="http://schemas.openxmlformats.org/officeDocument/2006/relationships/slideLayout" Target="../slideLayouts/slideLayout36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74116ED-0E66-FBCA-EDBC-05397DEB4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923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0" imgH="350" progId="TCLayout.ActiveDocument.1">
                  <p:embed/>
                </p:oleObj>
              </mc:Choice>
              <mc:Fallback>
                <p:oleObj name="think-cell Folie" r:id="rId6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74116ED-0E66-FBCA-EDBC-05397DEB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066925"/>
            <a:ext cx="9144000" cy="2429449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1C8E6F-E5AC-2944-B4FD-B9A0400C303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" y="545273"/>
            <a:ext cx="2191416" cy="43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60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815" r:id="rId2"/>
    <p:sldLayoutId id="2147483816" r:id="rId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8" orient="horz" pos="1302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948" userDrawn="1">
          <p15:clr>
            <a:srgbClr val="F26B43"/>
          </p15:clr>
        </p15:guide>
        <p15:guide id="14" pos="5103" userDrawn="1">
          <p15:clr>
            <a:srgbClr val="F26B43"/>
          </p15:clr>
        </p15:guide>
        <p15:guide id="15" pos="5443" userDrawn="1">
          <p15:clr>
            <a:srgbClr val="F26B43"/>
          </p15:clr>
        </p15:guide>
        <p15:guide id="16" orient="horz" pos="3094" userDrawn="1">
          <p15:clr>
            <a:srgbClr val="F26B43"/>
          </p15:clr>
        </p15:guide>
        <p15:guide id="17" pos="8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A20A7B-E9C5-08D9-6754-EC0FE3A9B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034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0" imgH="350" progId="TCLayout.ActiveDocument.1">
                  <p:embed/>
                </p:oleObj>
              </mc:Choice>
              <mc:Fallback>
                <p:oleObj name="think-cell Folie" r:id="rId4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A20A7B-E9C5-08D9-6754-EC0FE3A9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915988"/>
            <a:ext cx="9144000" cy="4227511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A01E52-A9C5-A745-8343-8B9507CD684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1713852-5CED-7148-93E5-0D78358EAD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3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8" orient="horz" pos="1302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948" userDrawn="1">
          <p15:clr>
            <a:srgbClr val="F26B43"/>
          </p15:clr>
        </p15:guide>
        <p15:guide id="14" pos="5103" userDrawn="1">
          <p15:clr>
            <a:srgbClr val="F26B43"/>
          </p15:clr>
        </p15:guide>
        <p15:guide id="15" pos="5443" userDrawn="1">
          <p15:clr>
            <a:srgbClr val="F26B43"/>
          </p15:clr>
        </p15:guide>
        <p15:guide id="16" orient="horz" pos="3094" userDrawn="1">
          <p15:clr>
            <a:srgbClr val="F26B43"/>
          </p15:clr>
        </p15:guide>
        <p15:guide id="17" pos="8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8C70DAF-1AEC-1175-9A07-248FFA1CF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785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50" imgH="350" progId="TCLayout.ActiveDocument.1">
                  <p:embed/>
                </p:oleObj>
              </mc:Choice>
              <mc:Fallback>
                <p:oleObj name="think-cell Folie" r:id="rId17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8C70DAF-1AEC-1175-9A07-248FFA1CF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40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6" orient="horz" pos="1302" userDrawn="1">
          <p15:clr>
            <a:srgbClr val="F26B43"/>
          </p15:clr>
        </p15:guide>
        <p15:guide id="11" pos="2812" userDrawn="1">
          <p15:clr>
            <a:srgbClr val="F26B43"/>
          </p15:clr>
        </p15:guide>
        <p15:guide id="12" pos="2948" userDrawn="1">
          <p15:clr>
            <a:srgbClr val="F26B43"/>
          </p15:clr>
        </p15:guide>
        <p15:guide id="13" pos="5103" userDrawn="1">
          <p15:clr>
            <a:srgbClr val="F26B43"/>
          </p15:clr>
        </p15:guide>
        <p15:guide id="14" pos="5443" userDrawn="1">
          <p15:clr>
            <a:srgbClr val="F26B43"/>
          </p15:clr>
        </p15:guide>
        <p15:guide id="15" orient="horz" pos="3094" userDrawn="1">
          <p15:clr>
            <a:srgbClr val="F26B43"/>
          </p15:clr>
        </p15:guide>
        <p15:guide id="16" orient="horz" pos="2074" userDrawn="1">
          <p15:clr>
            <a:srgbClr val="F26B43"/>
          </p15:clr>
        </p15:guide>
        <p15:guide id="17" orient="horz" pos="196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7372E9-148C-090E-D75D-95327E2A1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3596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50" imgH="350" progId="TCLayout.ActiveDocument.1">
                  <p:embed/>
                </p:oleObj>
              </mc:Choice>
              <mc:Fallback>
                <p:oleObj name="think-cell Folie" r:id="rId17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7372E9-148C-090E-D75D-95327E2A1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DB7E49CB-C156-C940-8B1B-FD8608511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6" t="20212" r="930" b="4504"/>
          <a:stretch/>
        </p:blipFill>
        <p:spPr>
          <a:xfrm flipV="1">
            <a:off x="4612328" y="0"/>
            <a:ext cx="4531672" cy="5143500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98" r:id="rId3"/>
    <p:sldLayoutId id="2147483761" r:id="rId4"/>
    <p:sldLayoutId id="2147483773" r:id="rId5"/>
    <p:sldLayoutId id="2147483799" r:id="rId6"/>
    <p:sldLayoutId id="2147483776" r:id="rId7"/>
    <p:sldLayoutId id="2147483764" r:id="rId8"/>
    <p:sldLayoutId id="2147483765" r:id="rId9"/>
    <p:sldLayoutId id="2147483763" r:id="rId10"/>
    <p:sldLayoutId id="2147483777" r:id="rId11"/>
    <p:sldLayoutId id="2147483778" r:id="rId12"/>
    <p:sldLayoutId id="2147483779" r:id="rId13"/>
    <p:sldLayoutId id="2147483780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6" orient="horz" pos="1302" userDrawn="1">
          <p15:clr>
            <a:srgbClr val="F26B43"/>
          </p15:clr>
        </p15:guide>
        <p15:guide id="11" pos="2812" userDrawn="1">
          <p15:clr>
            <a:srgbClr val="F26B43"/>
          </p15:clr>
        </p15:guide>
        <p15:guide id="12" pos="2948" userDrawn="1">
          <p15:clr>
            <a:srgbClr val="F26B43"/>
          </p15:clr>
        </p15:guide>
        <p15:guide id="13" pos="5103" userDrawn="1">
          <p15:clr>
            <a:srgbClr val="F26B43"/>
          </p15:clr>
        </p15:guide>
        <p15:guide id="14" pos="5443" userDrawn="1">
          <p15:clr>
            <a:srgbClr val="F26B43"/>
          </p15:clr>
        </p15:guide>
        <p15:guide id="15" orient="horz" pos="3094" userDrawn="1">
          <p15:clr>
            <a:srgbClr val="F26B43"/>
          </p15:clr>
        </p15:guide>
        <p15:guide id="16" orient="horz" pos="2074" userDrawn="1">
          <p15:clr>
            <a:srgbClr val="F26B43"/>
          </p15:clr>
        </p15:guide>
        <p15:guide id="17" orient="horz" pos="196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066925"/>
            <a:ext cx="9144000" cy="2429449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1C8E6F-E5AC-2944-B4FD-B9A0400C3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" y="545273"/>
            <a:ext cx="2191416" cy="43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34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orient="horz" pos="577">
          <p15:clr>
            <a:srgbClr val="F26B43"/>
          </p15:clr>
        </p15:guide>
        <p15:guide id="5" orient="horz" pos="940">
          <p15:clr>
            <a:srgbClr val="F26B43"/>
          </p15:clr>
        </p15:guide>
        <p15:guide id="8" orient="horz" pos="1302">
          <p15:clr>
            <a:srgbClr val="F26B43"/>
          </p15:clr>
        </p15:guide>
        <p15:guide id="12" pos="2812">
          <p15:clr>
            <a:srgbClr val="F26B43"/>
          </p15:clr>
        </p15:guide>
        <p15:guide id="13" pos="2948">
          <p15:clr>
            <a:srgbClr val="F26B43"/>
          </p15:clr>
        </p15:guide>
        <p15:guide id="14" pos="5103">
          <p15:clr>
            <a:srgbClr val="F26B43"/>
          </p15:clr>
        </p15:guide>
        <p15:guide id="15" pos="5443">
          <p15:clr>
            <a:srgbClr val="F26B43"/>
          </p15:clr>
        </p15:guide>
        <p15:guide id="16" orient="horz" pos="3094">
          <p15:clr>
            <a:srgbClr val="F26B43"/>
          </p15:clr>
        </p15:guide>
        <p15:guide id="17" pos="8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B7E49CB-C156-C940-8B1B-FD8608511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6" t="20212" r="930" b="4504"/>
          <a:stretch/>
        </p:blipFill>
        <p:spPr>
          <a:xfrm flipV="1">
            <a:off x="4612328" y="0"/>
            <a:ext cx="4531672" cy="5143500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958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orient="horz" pos="577">
          <p15:clr>
            <a:srgbClr val="F26B43"/>
          </p15:clr>
        </p15:guide>
        <p15:guide id="5" orient="horz" pos="940">
          <p15:clr>
            <a:srgbClr val="F26B43"/>
          </p15:clr>
        </p15:guide>
        <p15:guide id="6" orient="horz" pos="1302">
          <p15:clr>
            <a:srgbClr val="F26B43"/>
          </p15:clr>
        </p15:guide>
        <p15:guide id="11" pos="2812">
          <p15:clr>
            <a:srgbClr val="F26B43"/>
          </p15:clr>
        </p15:guide>
        <p15:guide id="12" pos="2948">
          <p15:clr>
            <a:srgbClr val="F26B43"/>
          </p15:clr>
        </p15:guide>
        <p15:guide id="13" pos="5103">
          <p15:clr>
            <a:srgbClr val="F26B43"/>
          </p15:clr>
        </p15:guide>
        <p15:guide id="14" pos="5443">
          <p15:clr>
            <a:srgbClr val="F26B43"/>
          </p15:clr>
        </p15:guide>
        <p15:guide id="15" orient="horz" pos="3094">
          <p15:clr>
            <a:srgbClr val="F26B43"/>
          </p15:clr>
        </p15:guide>
        <p15:guide id="16" orient="horz" pos="2074">
          <p15:clr>
            <a:srgbClr val="F26B43"/>
          </p15:clr>
        </p15:guide>
        <p15:guide id="17" orient="horz" pos="1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79_3E0E6F4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17B_A4C0889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7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hyperlink" Target="mailto:http://creativecommons.org/licenses/by-nc-sa/4.0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13" Type="http://schemas.openxmlformats.org/officeDocument/2006/relationships/image" Target="../media/image41.png"/><Relationship Id="rId18" Type="http://schemas.openxmlformats.org/officeDocument/2006/relationships/customXml" Target="../ink/ink9.xml"/><Relationship Id="rId3" Type="http://schemas.openxmlformats.org/officeDocument/2006/relationships/image" Target="../media/image36.png"/><Relationship Id="rId21" Type="http://schemas.openxmlformats.org/officeDocument/2006/relationships/image" Target="../media/image45.png"/><Relationship Id="rId7" Type="http://schemas.openxmlformats.org/officeDocument/2006/relationships/image" Target="../media/image38.png"/><Relationship Id="rId12" Type="http://schemas.openxmlformats.org/officeDocument/2006/relationships/customXml" Target="../ink/ink6.xml"/><Relationship Id="rId17" Type="http://schemas.openxmlformats.org/officeDocument/2006/relationships/image" Target="../media/image43.png"/><Relationship Id="rId25" Type="http://schemas.openxmlformats.org/officeDocument/2006/relationships/image" Target="../media/image47.png"/><Relationship Id="rId2" Type="http://schemas.openxmlformats.org/officeDocument/2006/relationships/customXml" Target="../ink/ink1.xml"/><Relationship Id="rId16" Type="http://schemas.openxmlformats.org/officeDocument/2006/relationships/customXml" Target="../ink/ink8.xml"/><Relationship Id="rId20" Type="http://schemas.openxmlformats.org/officeDocument/2006/relationships/customXml" Target="../ink/ink10.xml"/><Relationship Id="rId1" Type="http://schemas.openxmlformats.org/officeDocument/2006/relationships/slideLayout" Target="../slideLayouts/slideLayout41.xml"/><Relationship Id="rId6" Type="http://schemas.openxmlformats.org/officeDocument/2006/relationships/customXml" Target="../ink/ink3.xml"/><Relationship Id="rId11" Type="http://schemas.openxmlformats.org/officeDocument/2006/relationships/image" Target="../media/image40.png"/><Relationship Id="rId24" Type="http://schemas.openxmlformats.org/officeDocument/2006/relationships/customXml" Target="../ink/ink12.xml"/><Relationship Id="rId5" Type="http://schemas.openxmlformats.org/officeDocument/2006/relationships/image" Target="../media/image37.png"/><Relationship Id="rId15" Type="http://schemas.openxmlformats.org/officeDocument/2006/relationships/image" Target="../media/image42.png"/><Relationship Id="rId23" Type="http://schemas.openxmlformats.org/officeDocument/2006/relationships/image" Target="../media/image46.png"/><Relationship Id="rId10" Type="http://schemas.openxmlformats.org/officeDocument/2006/relationships/customXml" Target="../ink/ink5.xml"/><Relationship Id="rId19" Type="http://schemas.openxmlformats.org/officeDocument/2006/relationships/image" Target="../media/image44.png"/><Relationship Id="rId4" Type="http://schemas.openxmlformats.org/officeDocument/2006/relationships/customXml" Target="../ink/ink2.xml"/><Relationship Id="rId9" Type="http://schemas.openxmlformats.org/officeDocument/2006/relationships/image" Target="../media/image39.png"/><Relationship Id="rId14" Type="http://schemas.openxmlformats.org/officeDocument/2006/relationships/customXml" Target="../ink/ink7.xml"/><Relationship Id="rId22" Type="http://schemas.openxmlformats.org/officeDocument/2006/relationships/customXml" Target="../ink/ink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31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hyperlink" Target="mailto:http://creativecommons.org/licenses/by-nc-sa/4.0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160_35B5D35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58_DC320BF8.xml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EEE434-1661-DE4C-86AC-13963AA63D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68425" y="2183199"/>
            <a:ext cx="2847525" cy="589375"/>
          </a:xfrm>
        </p:spPr>
        <p:txBody>
          <a:bodyPr/>
          <a:lstStyle/>
          <a:p>
            <a:r>
              <a:rPr lang="de-DE" altLang="de-DE" sz="1800" dirty="0">
                <a:latin typeface="Arial Narrow" panose="020B0604020202020204" pitchFamily="34" charset="0"/>
                <a:cs typeface="Arial Narrow" panose="020B0604020202020204" pitchFamily="34" charset="0"/>
              </a:rPr>
              <a:t>Wandelwerkzeug</a:t>
            </a:r>
            <a:endParaRPr lang="de-DE" sz="18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F32CBF-83F0-A346-A6C2-A2E5182E61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68425" y="2692204"/>
            <a:ext cx="3850938" cy="15721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Change Story:</a:t>
            </a:r>
          </a:p>
          <a:p>
            <a:pPr>
              <a:lnSpc>
                <a:spcPct val="100000"/>
              </a:lnSpc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Veränderung eindrücklich erzähl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50A9B6-344B-409C-9441-EF6E231D9D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757" y="140824"/>
            <a:ext cx="1692718" cy="169271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BAF22100-6D95-AD45-8F3F-2BDB24936BC9}"/>
              </a:ext>
            </a:extLst>
          </p:cNvPr>
          <p:cNvSpPr/>
          <p:nvPr/>
        </p:nvSpPr>
        <p:spPr>
          <a:xfrm>
            <a:off x="5317963" y="2297560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6C477CF-AE1A-E54B-B57D-D7F229BCF8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31551" y="2599763"/>
            <a:ext cx="2142265" cy="159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693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C43DD4-84AD-9684-92C8-53B1374287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Befüllen des Change Story Canva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08462-8C12-D0DD-3E7F-8F0D9DCC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0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DD0507B-9B10-E40E-30B6-4E3EA1E0E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009863">
            <a:off x="5187774" y="2025879"/>
            <a:ext cx="483195" cy="74948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8F7F2831-DFBF-B075-D9DE-E39C3D4E3645}"/>
              </a:ext>
            </a:extLst>
          </p:cNvPr>
          <p:cNvSpPr/>
          <p:nvPr/>
        </p:nvSpPr>
        <p:spPr bwMode="auto">
          <a:xfrm>
            <a:off x="2803661" y="2144183"/>
            <a:ext cx="1994220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 Erarbeitung in Gruppe 1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B7115B0-4597-E98A-C7E3-953A2AF57D48}"/>
              </a:ext>
            </a:extLst>
          </p:cNvPr>
          <p:cNvSpPr/>
          <p:nvPr/>
        </p:nvSpPr>
        <p:spPr bwMode="auto">
          <a:xfrm>
            <a:off x="2803660" y="2785350"/>
            <a:ext cx="1994220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Erarbeitung in Gruppe 2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D7B50FA-CBF4-6C16-5C12-6EDB331A58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550261">
            <a:off x="5195079" y="2442112"/>
            <a:ext cx="483195" cy="749489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27FDDB63-7285-34E7-75A7-A7F35A37179A}"/>
              </a:ext>
            </a:extLst>
          </p:cNvPr>
          <p:cNvSpPr/>
          <p:nvPr/>
        </p:nvSpPr>
        <p:spPr bwMode="auto">
          <a:xfrm>
            <a:off x="5905788" y="2151440"/>
            <a:ext cx="1353079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Ergebnisse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zusammen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führ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209E2AB-6B7D-90A1-67AF-9635B81537EB}"/>
              </a:ext>
            </a:extLst>
          </p:cNvPr>
          <p:cNvSpPr/>
          <p:nvPr/>
        </p:nvSpPr>
        <p:spPr bwMode="auto">
          <a:xfrm>
            <a:off x="1042988" y="2357966"/>
            <a:ext cx="822997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000" dirty="0">
                <a:cs typeface="Arial" charset="0"/>
              </a:rPr>
              <a:t>Canvas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000" dirty="0">
                <a:cs typeface="Arial" charset="0"/>
              </a:rPr>
              <a:t>F</a:t>
            </a: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eld 1-6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A8DBF37-39C5-38BA-BF10-EB984DF8A8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3219686">
            <a:off x="1922195" y="2124474"/>
            <a:ext cx="483195" cy="74948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570E5BD-3635-11D6-5F6D-E97E485654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147451">
            <a:off x="1962528" y="2508132"/>
            <a:ext cx="483195" cy="74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124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1 – Wozu veränder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1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CH" sz="2000" dirty="0"/>
              <a:t>Warum ist diese Veränderung genau jetzt (ggfls. wieder) notwendig? </a:t>
            </a:r>
          </a:p>
          <a:p>
            <a:pPr marL="342900" indent="-342900">
              <a:buFont typeface="Wingdings" pitchFamily="2" charset="2"/>
              <a:buChar char="§"/>
              <a:tabLst>
                <a:tab pos="1704975" algn="l"/>
              </a:tabLst>
            </a:pPr>
            <a:r>
              <a:rPr lang="de-CH" sz="2000" dirty="0"/>
              <a:t>Was sind die 	Hintergründe    der Veränderung?</a:t>
            </a:r>
          </a:p>
          <a:p>
            <a:pPr marL="0" indent="0">
              <a:buNone/>
              <a:tabLst>
                <a:tab pos="1704975" algn="l"/>
              </a:tabLst>
            </a:pPr>
            <a:r>
              <a:rPr lang="de-CH" sz="2000" dirty="0"/>
              <a:t>	Ursachen</a:t>
            </a:r>
          </a:p>
          <a:p>
            <a:pPr marL="0" indent="0">
              <a:buNone/>
              <a:tabLst>
                <a:tab pos="1704975" algn="l"/>
              </a:tabLst>
            </a:pPr>
            <a:r>
              <a:rPr lang="de-CH" sz="2000" dirty="0"/>
              <a:t>	Auslöser und </a:t>
            </a:r>
          </a:p>
          <a:p>
            <a:pPr marL="0" indent="0">
              <a:buNone/>
              <a:tabLst>
                <a:tab pos="1704975" algn="l"/>
              </a:tabLst>
            </a:pPr>
            <a:r>
              <a:rPr lang="de-CH" sz="2000" dirty="0"/>
              <a:t>	Chancen 		</a:t>
            </a:r>
            <a:endParaRPr lang="de-DE" sz="1800" dirty="0"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159D39-05AC-F285-6B07-73ED90340F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95BE4EA-4551-7FE0-6BE6-266A3DDE8A6B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34684271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2 – Wohin veränder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2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schaut unsere Zukunft konkret aus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ovon wollen wir uns weg verändern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werden die Vorteile sein?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die Nachteile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E6F49DF-5BE6-67E1-D9E8-33CC07FE24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E00A83F-5466-CF19-6CCE-0F1EA9F2E014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42775337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3 – Was veränder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3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ändert sich genau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hat sich bereits schon verändert?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wollen wir bewahren? Was bewusst nicht ändern?</a:t>
            </a:r>
          </a:p>
          <a:p>
            <a:pPr marL="0" indent="0">
              <a:buNone/>
            </a:pPr>
            <a:endParaRPr lang="de-DE" sz="1800" dirty="0"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4C1E5B-B54A-06AE-2E6C-77C8350AA8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17B72D1-11CF-B15B-E139-F2DEDE4FA42F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190112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4 – Welche Auswirkunge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4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bedeutet die Veränderung für mich? Für uns als Abteilung? Für die Mitarbeitenden? Für uns als Management?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stark ist wer von der Veränderung betroffen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er gewinnt durch die Veränderung? Wer verliert etwas?</a:t>
            </a:r>
          </a:p>
          <a:p>
            <a:pPr marL="0" indent="0">
              <a:buNone/>
            </a:pPr>
            <a:endParaRPr lang="de-DE" sz="1800" dirty="0">
              <a:latin typeface="+mj-lt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de-DE" sz="1800" dirty="0"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6E61E7-C796-4A99-F40C-8F1132C004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449D1A0-4F78-DE61-41CA-F763CDD0CE22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13437416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5 – Wie veränder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5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gestalten wir den Weg zum Zielzustand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sehen die groben Schritte aus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sehen die konkreten nächsten Schritte aus?</a:t>
            </a:r>
          </a:p>
          <a:p>
            <a:pPr marL="0" indent="0">
              <a:buNone/>
            </a:pPr>
            <a:endParaRPr lang="de-DE" sz="1800" dirty="0">
              <a:latin typeface="+mj-lt"/>
            </a:endParaRPr>
          </a:p>
          <a:p>
            <a:pPr marL="0" indent="0">
              <a:buNone/>
            </a:pPr>
            <a:endParaRPr lang="de-DE" sz="1800" dirty="0">
              <a:latin typeface="+mj-lt"/>
            </a:endParaRPr>
          </a:p>
          <a:p>
            <a:pPr marL="0" indent="0">
              <a:buNone/>
            </a:pPr>
            <a:endParaRPr lang="de-DE" sz="1800" dirty="0">
              <a:latin typeface="+mj-lt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de-DE" sz="1800" dirty="0"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27E27D7-11E2-275F-2BAD-AB541C9EBF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DCEFC89-05F4-0F6D-3BB5-B7826D95E567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748430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6 – Welche Erwartunge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6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9858" y="1395266"/>
            <a:ext cx="7597775" cy="165273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haben wir an die Empfängerinnen und Empfänger unserer Botschaft?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as tun wir als Verantwortliche für die Realisierung der Veränderung?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elche Unterstützung benötigen wir von dir für die Veränderung?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de-DE" sz="1800" dirty="0">
                <a:latin typeface="+mj-lt"/>
              </a:rPr>
              <a:t>Wie kannst du mitgestalten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24F16E-983D-0B5C-4A44-A967829CD0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8745" y="3872484"/>
            <a:ext cx="1242919" cy="27587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0947ACE-672A-8862-4E53-F975AFE2ABE5}"/>
              </a:ext>
            </a:extLst>
          </p:cNvPr>
          <p:cNvSpPr txBox="1"/>
          <p:nvPr/>
        </p:nvSpPr>
        <p:spPr>
          <a:xfrm>
            <a:off x="5122119" y="3908237"/>
            <a:ext cx="37369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spcAft>
                <a:spcPts val="300"/>
              </a:spcAft>
              <a:buNone/>
            </a:pPr>
            <a:r>
              <a:rPr lang="de-DE" sz="1100" b="1" dirty="0">
                <a:latin typeface="+mj-lt"/>
              </a:rPr>
              <a:t>Erinnerung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5 Minuten notieren der Gedanken auf </a:t>
            </a:r>
            <a:r>
              <a:rPr lang="de-DE" sz="1100" dirty="0" err="1">
                <a:latin typeface="+mj-lt"/>
              </a:rPr>
              <a:t>Postit</a:t>
            </a:r>
            <a:r>
              <a:rPr lang="de-DE" sz="1100" dirty="0">
                <a:latin typeface="+mj-lt"/>
              </a:rPr>
              <a:t> jeder für sich in Stillarbei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-2 Minuten pro Person Vorstellen der eigenen Gedank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10 Minuten clustern und Überschriften für Cluster definieren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de-DE" sz="1100" dirty="0">
                <a:latin typeface="+mj-lt"/>
              </a:rPr>
              <a:t>2 Minuten überprüfen, ob was fehlt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17272502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C43DD4-84AD-9684-92C8-53B1374287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Canvas Inhalte priorisieren und beschreib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08462-8C12-D0DD-3E7F-8F0D9DCC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7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475919-EB90-A1DE-65A6-D13F384E08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1849" y="1381411"/>
            <a:ext cx="6885865" cy="353799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Schaut gemeinsam nochmals über den gesamten Canvas. </a:t>
            </a:r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Wo sinnvoll, fasst Cluster Felder-übergreifend zusammen. Markiert wichtige Verbindungen zwischen Clustern mittels Pfeile.</a:t>
            </a:r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Wie viele Cluster habt ihr zu diesem Zeitpunkt identifiziert? Sind es mehr als 8 Cluster, priorisiert die Cluster mittels Klebepunkten. </a:t>
            </a:r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Bildet 2-er Gruppen und teilt die priorisierten Cluster untereinander auf. Formuliert zu jedem der priorisierten Cluster jeweils 1-3 prägnante Sätze, welche den Inhalt des Clusters beschreiben. </a:t>
            </a:r>
            <a:r>
              <a:rPr lang="de-DE" sz="1800" dirty="0">
                <a:sym typeface="Wingdings" panose="05000000000000000000" pitchFamily="2" charset="2"/>
              </a:rPr>
              <a:t> </a:t>
            </a:r>
            <a:r>
              <a:rPr lang="de-DE" sz="1800" b="1" dirty="0">
                <a:sym typeface="Wingdings" panose="05000000000000000000" pitchFamily="2" charset="2"/>
              </a:rPr>
              <a:t>30 Minuten </a:t>
            </a: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indent="0"/>
            <a:endParaRPr lang="de-DE" sz="1800" dirty="0"/>
          </a:p>
          <a:p>
            <a:pPr indent="0"/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148688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C43DD4-84AD-9684-92C8-53B1374287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Veränderung illustrier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08462-8C12-D0DD-3E7F-8F0D9DCC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8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475919-EB90-A1DE-65A6-D13F384E08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1849" y="1381411"/>
            <a:ext cx="6885865" cy="3537998"/>
          </a:xfrm>
          <a:prstGeom prst="rect">
            <a:avLst/>
          </a:prstGeom>
        </p:spPr>
        <p:txBody>
          <a:bodyPr>
            <a:normAutofit/>
          </a:bodyPr>
          <a:lstStyle/>
          <a:p>
            <a:pPr indent="0"/>
            <a:r>
              <a:rPr lang="de-DE" sz="1800" kern="0" dirty="0"/>
              <a:t>Visualisierungen helfen, Menschen sowohl mental wie auch emotional abzuholen. Sie machten Informationen zugänglich und eindrücklich. </a:t>
            </a:r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Bildet 3-er Gruppen</a:t>
            </a:r>
          </a:p>
          <a:p>
            <a:pPr marL="268288" indent="-2682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Überlegt euch pro Gruppe mindestens 2 passende Bilder, welche gut zur besprochenen Veränderung passen könnten </a:t>
            </a:r>
            <a:r>
              <a:rPr lang="de-DE" sz="1800" dirty="0">
                <a:sym typeface="Wingdings" panose="05000000000000000000" pitchFamily="2" charset="2"/>
              </a:rPr>
              <a:t> </a:t>
            </a:r>
            <a:r>
              <a:rPr lang="de-DE" sz="1800" b="1" dirty="0">
                <a:sym typeface="Wingdings" panose="05000000000000000000" pitchFamily="2" charset="2"/>
              </a:rPr>
              <a:t>20 Minuten </a:t>
            </a:r>
            <a:endParaRPr lang="de-DE" sz="1800" dirty="0"/>
          </a:p>
          <a:p>
            <a:pPr marL="268288" indent="0">
              <a:spcAft>
                <a:spcPts val="600"/>
              </a:spcAft>
            </a:pPr>
            <a:r>
              <a:rPr lang="de-DE" sz="1800" dirty="0"/>
              <a:t>Diese Bilder können aus allen Bereichen des Lebens kommen: Natur, Kunst, Musik, Beruf, Freizeit, Sport, Wissenschaft, Geschichte … </a:t>
            </a:r>
          </a:p>
          <a:p>
            <a:pPr marL="268288" indent="0">
              <a:spcAft>
                <a:spcPts val="600"/>
              </a:spcAft>
            </a:pPr>
            <a:r>
              <a:rPr lang="de-DE" sz="1800" dirty="0"/>
              <a:t>Visualisiert jedes Bild jeweils anhand einer groben Skizze. Diese muss nicht schön sein! </a:t>
            </a:r>
          </a:p>
          <a:p>
            <a:pPr marL="268288" indent="0"/>
            <a:endParaRPr lang="de-DE" sz="1800" dirty="0"/>
          </a:p>
          <a:p>
            <a:pPr marL="268288" indent="0"/>
            <a:endParaRPr lang="de-DE" sz="1800" dirty="0"/>
          </a:p>
          <a:p>
            <a:pPr marL="268288" indent="0"/>
            <a:endParaRPr lang="de-DE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indent="0"/>
            <a:endParaRPr lang="de-DE" sz="1800" dirty="0"/>
          </a:p>
          <a:p>
            <a:pPr indent="0"/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20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F3B34FD-6000-7613-A72C-8F0C02EC82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2726645" y="4342892"/>
            <a:ext cx="874047" cy="26414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BD9FC2A-F666-251C-2AEE-F47223A02B23}"/>
              </a:ext>
            </a:extLst>
          </p:cNvPr>
          <p:cNvSpPr txBox="1"/>
          <p:nvPr/>
        </p:nvSpPr>
        <p:spPr>
          <a:xfrm>
            <a:off x="3541487" y="4290300"/>
            <a:ext cx="3270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b="1" dirty="0">
                <a:latin typeface="+mn-lt"/>
                <a:ea typeface="ＭＳ Ｐゴシック" charset="0"/>
              </a:rPr>
              <a:t>Lasst eurer Kreativität freien Lauf!</a:t>
            </a:r>
          </a:p>
        </p:txBody>
      </p:sp>
    </p:spTree>
    <p:extLst>
      <p:ext uri="{BB962C8B-B14F-4D97-AF65-F5344CB8AC3E}">
        <p14:creationId xmlns:p14="http://schemas.microsoft.com/office/powerpoint/2010/main" val="104113338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C43DD4-84AD-9684-92C8-53B1374287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Veränderung illustrier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08462-8C12-D0DD-3E7F-8F0D9DCC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19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475919-EB90-A1DE-65A6-D13F384E08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1849" y="1381411"/>
            <a:ext cx="6885865" cy="353799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Stellt eure Bilder den anderen jeweils kurz vor und hängt diese </a:t>
            </a:r>
            <a:r>
              <a:rPr lang="de-DE" sz="1800" dirty="0" err="1"/>
              <a:t>anschliessend</a:t>
            </a:r>
            <a:r>
              <a:rPr lang="de-DE" sz="1800" dirty="0"/>
              <a:t> auf </a:t>
            </a:r>
            <a:r>
              <a:rPr lang="de-DE" sz="1800" dirty="0">
                <a:sym typeface="Wingdings" panose="05000000000000000000" pitchFamily="2" charset="2"/>
              </a:rPr>
              <a:t> </a:t>
            </a:r>
            <a:r>
              <a:rPr lang="de-DE" sz="1800" b="1" dirty="0">
                <a:sym typeface="Wingdings" panose="05000000000000000000" pitchFamily="2" charset="2"/>
              </a:rPr>
              <a:t>1-2 Minuten </a:t>
            </a:r>
            <a:r>
              <a:rPr lang="de-DE" sz="1800" dirty="0">
                <a:sym typeface="Wingdings" panose="05000000000000000000" pitchFamily="2" charset="2"/>
              </a:rPr>
              <a:t>pro Bild</a:t>
            </a: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r>
              <a:rPr lang="de-DE" sz="1800" dirty="0"/>
              <a:t> Bewegt euch individuell frei im Raum zwischen den einzelnen Bildern hin und her. Ergänzt spontan die Bilder mit weiteren Ideen, Details oder Fragen </a:t>
            </a:r>
            <a:r>
              <a:rPr lang="de-DE" sz="1800" dirty="0">
                <a:sym typeface="Wingdings" panose="05000000000000000000" pitchFamily="2" charset="2"/>
              </a:rPr>
              <a:t> </a:t>
            </a:r>
            <a:r>
              <a:rPr lang="de-DE" sz="1800" b="1" dirty="0">
                <a:sym typeface="Wingdings" panose="05000000000000000000" pitchFamily="2" charset="2"/>
              </a:rPr>
              <a:t>10 Minuten </a:t>
            </a:r>
            <a:endParaRPr lang="de-DE" sz="1800" dirty="0"/>
          </a:p>
          <a:p>
            <a:pPr indent="0"/>
            <a:endParaRPr lang="de-DE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/>
              <a:t>Jeder markiert mittels Klebepunkten die 2 Bilder, welche er für die im Canvas besprochene Veränderung favorisiert. </a:t>
            </a:r>
          </a:p>
          <a:p>
            <a:pPr indent="0"/>
            <a:endParaRPr lang="de-DE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/>
              <a:t>Einigt euch gemeinsam auf maximal 3 Bilder für die engere Auswahl. </a:t>
            </a:r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0"/>
            <a:endParaRPr lang="de-DE" sz="1800" dirty="0"/>
          </a:p>
          <a:p>
            <a:pPr marL="268288" indent="0"/>
            <a:endParaRPr lang="de-DE" sz="1800" dirty="0"/>
          </a:p>
          <a:p>
            <a:pPr marL="268288" indent="0"/>
            <a:endParaRPr lang="de-DE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indent="0"/>
            <a:endParaRPr lang="de-DE" sz="1800" dirty="0"/>
          </a:p>
          <a:p>
            <a:pPr indent="0"/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268288" indent="-268288"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018264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Agend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</a:t>
            </a:fld>
            <a:endParaRPr lang="de-CH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76CD96D8-7D79-F743-9AC6-85FF4AE630A3}"/>
              </a:ext>
            </a:extLst>
          </p:cNvPr>
          <p:cNvSpPr txBox="1">
            <a:spLocks/>
          </p:cNvSpPr>
          <p:nvPr/>
        </p:nvSpPr>
        <p:spPr>
          <a:xfrm>
            <a:off x="1042988" y="4531179"/>
            <a:ext cx="1970699" cy="380546"/>
          </a:xfrm>
          <a:prstGeom prst="rect">
            <a:avLst/>
          </a:prstGeom>
        </p:spPr>
        <p:txBody>
          <a:bodyPr lIns="0" tIns="0" rIns="0" bIns="0"/>
          <a:lstStyle>
            <a:lvl1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+mj-lt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725488" indent="-360000" algn="l" rtl="0" eaLnBrk="0" fontAlgn="base" hangingPunct="0">
              <a:lnSpc>
                <a:spcPts val="32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1069975" indent="-360000" algn="l" rtl="0" eaLnBrk="0" fontAlgn="base" hangingPunct="0">
              <a:lnSpc>
                <a:spcPts val="32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18970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6pPr>
            <a:lvl7pPr marL="23542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7pPr>
            <a:lvl8pPr marL="28114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8pPr>
            <a:lvl9pPr marL="32686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2700" lvl="1" indent="0">
              <a:lnSpc>
                <a:spcPts val="2600"/>
              </a:lnSpc>
              <a:spcBef>
                <a:spcPts val="1000"/>
              </a:spcBef>
            </a:pPr>
            <a:r>
              <a:rPr lang="de-CH" altLang="de-DE" sz="1200" kern="0" dirty="0"/>
              <a:t>* Ausreichend Pausen einplanen</a:t>
            </a:r>
          </a:p>
        </p:txBody>
      </p:sp>
      <p:graphicFrame>
        <p:nvGraphicFramePr>
          <p:cNvPr id="42" name="Tabelle 5">
            <a:extLst>
              <a:ext uri="{FF2B5EF4-FFF2-40B4-BE49-F238E27FC236}">
                <a16:creationId xmlns:a16="http://schemas.microsoft.com/office/drawing/2014/main" id="{734ED974-85B0-804C-A4EA-FEDFBD3325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394329"/>
              </p:ext>
            </p:extLst>
          </p:nvPr>
        </p:nvGraphicFramePr>
        <p:xfrm>
          <a:off x="1042987" y="1486113"/>
          <a:ext cx="7088665" cy="23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043">
                  <a:extLst>
                    <a:ext uri="{9D8B030D-6E8A-4147-A177-3AD203B41FA5}">
                      <a16:colId xmlns:a16="http://schemas.microsoft.com/office/drawing/2014/main" val="1812876424"/>
                    </a:ext>
                  </a:extLst>
                </a:gridCol>
                <a:gridCol w="5932073">
                  <a:extLst>
                    <a:ext uri="{9D8B030D-6E8A-4147-A177-3AD203B41FA5}">
                      <a16:colId xmlns:a16="http://schemas.microsoft.com/office/drawing/2014/main" val="2948105938"/>
                    </a:ext>
                  </a:extLst>
                </a:gridCol>
                <a:gridCol w="816549">
                  <a:extLst>
                    <a:ext uri="{9D8B030D-6E8A-4147-A177-3AD203B41FA5}">
                      <a16:colId xmlns:a16="http://schemas.microsoft.com/office/drawing/2014/main" val="2347210613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de-CH" altLang="de-DE" sz="1800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</a:t>
                      </a:r>
                      <a:endParaRPr lang="de-DE" b="1" i="0" dirty="0">
                        <a:solidFill>
                          <a:sysClr val="windowText" lastClr="000000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0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Ziel für heu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28844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baseline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altLang="de-DE" sz="1800" dirty="0"/>
                        <a:t>Befüllen des Change Story Canvas</a:t>
                      </a:r>
                      <a:endParaRPr lang="de-CH" alt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8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21741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dirty="0"/>
                        <a:t>Canvas Inhalte priorisieren und ausformulier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6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3905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dirty="0"/>
                        <a:t>Veränderung visualisier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6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83449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lnSpc>
                          <a:spcPts val="2600"/>
                        </a:lnSpc>
                        <a:spcBef>
                          <a:spcPts val="1000"/>
                        </a:spcBef>
                      </a:pPr>
                      <a:r>
                        <a:rPr lang="de-CH" altLang="de-DE" sz="1800" b="0" i="0" kern="120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ea typeface="+mn-ea"/>
                        </a:rPr>
                        <a:t>Nächste Schritte &amp; Check ou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3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013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50579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3781" y="2952000"/>
            <a:ext cx="3789476" cy="609227"/>
          </a:xfrm>
        </p:spPr>
        <p:txBody>
          <a:bodyPr/>
          <a:lstStyle/>
          <a:p>
            <a:r>
              <a:rPr lang="de-DE" sz="40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Nächste Schrit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99301" y="223838"/>
            <a:ext cx="1541462" cy="274637"/>
          </a:xfrm>
          <a:prstGeom prst="rect">
            <a:avLst/>
          </a:prstGeom>
        </p:spPr>
        <p:txBody>
          <a:bodyPr/>
          <a:lstStyle/>
          <a:p>
            <a:fld id="{DE1226C2-F133-44DF-AAED-DC1E350BCD78}" type="slidenum">
              <a:rPr lang="de-CH" smtClean="0"/>
              <a:t>20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A0A1C9-7CDA-4E41-BD86-C5DD5DA7A668}"/>
              </a:ext>
            </a:extLst>
          </p:cNvPr>
          <p:cNvSpPr/>
          <p:nvPr/>
        </p:nvSpPr>
        <p:spPr>
          <a:xfrm>
            <a:off x="5264175" y="1873230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A0B844E-BDF4-9D49-8188-5BFB43082F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9950" y="2275313"/>
            <a:ext cx="2494417" cy="20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1367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E8A39B-1DB7-13B2-D3A0-766CFDC8A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o stehen wir jetzt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916EBF-C8F4-0779-2EE7-F46022438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1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1961B3-3202-4DB1-0430-1BB7C24C6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880482">
            <a:off x="2865995" y="1553187"/>
            <a:ext cx="483195" cy="85641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F9F1232-2261-9E99-3844-7607C04A3B71}"/>
              </a:ext>
            </a:extLst>
          </p:cNvPr>
          <p:cNvSpPr/>
          <p:nvPr/>
        </p:nvSpPr>
        <p:spPr bwMode="auto">
          <a:xfrm>
            <a:off x="1050245" y="1721900"/>
            <a:ext cx="1353079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400" dirty="0">
                <a:cs typeface="Arial" charset="0"/>
              </a:rPr>
              <a:t>Entwickeln</a:t>
            </a:r>
            <a:endParaRPr kumimoji="0" lang="de-DE" sz="2400" b="0" i="0" u="none" strike="noStrike" cap="none" normalizeH="0" baseline="0" dirty="0">
              <a:ln>
                <a:noFill/>
              </a:ln>
              <a:effectLst/>
              <a:latin typeface="Arial Narrow" pitchFamily="34" charset="0"/>
              <a:cs typeface="Arial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49E407-05D9-3A0F-E594-916911DF9E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880482">
            <a:off x="5088493" y="1560939"/>
            <a:ext cx="483195" cy="74948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42E90FA0-2D50-6FA7-64F9-C44A696E88C7}"/>
              </a:ext>
            </a:extLst>
          </p:cNvPr>
          <p:cNvSpPr/>
          <p:nvPr/>
        </p:nvSpPr>
        <p:spPr bwMode="auto">
          <a:xfrm>
            <a:off x="3564905" y="1721900"/>
            <a:ext cx="884152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Tes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623AE16-05F0-75A6-158E-0DCBC251DF83}"/>
              </a:ext>
            </a:extLst>
          </p:cNvPr>
          <p:cNvSpPr/>
          <p:nvPr/>
        </p:nvSpPr>
        <p:spPr bwMode="auto">
          <a:xfrm>
            <a:off x="5886400" y="1721900"/>
            <a:ext cx="1168761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Erzähl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4A81524-2723-C2C0-FEAD-9B8AB3076E24}"/>
              </a:ext>
            </a:extLst>
          </p:cNvPr>
          <p:cNvSpPr/>
          <p:nvPr/>
        </p:nvSpPr>
        <p:spPr bwMode="auto">
          <a:xfrm>
            <a:off x="1050244" y="2280706"/>
            <a:ext cx="2371443" cy="13359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Change Story Canvas befüll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Inhalte priorisier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Veränderung illustrier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CBE2B5E-8439-698E-DE4D-B1DDC6A7E3D5}"/>
              </a:ext>
            </a:extLst>
          </p:cNvPr>
          <p:cNvSpPr/>
          <p:nvPr/>
        </p:nvSpPr>
        <p:spPr bwMode="auto">
          <a:xfrm>
            <a:off x="3579418" y="2280706"/>
            <a:ext cx="2371443" cy="14084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Feedback einhol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Unklarheiten ausmerz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Inhalte nachschärf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D740D47-E7A9-E8EC-37D7-9B2D40B5D229}"/>
              </a:ext>
            </a:extLst>
          </p:cNvPr>
          <p:cNvSpPr/>
          <p:nvPr/>
        </p:nvSpPr>
        <p:spPr bwMode="auto">
          <a:xfrm>
            <a:off x="5886398" y="2280706"/>
            <a:ext cx="2524634" cy="14084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buSzPct val="80000"/>
              <a:buFont typeface="Wingdings" panose="05000000000000000000" pitchFamily="2" charset="2"/>
              <a:buChar char="§"/>
            </a:pPr>
            <a:r>
              <a:rPr lang="de-DE" sz="1600" dirty="0">
                <a:cs typeface="Arial" charset="0"/>
              </a:rPr>
              <a:t>Unterschiedliche Kanäle nutzen 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Zielgruppen</a:t>
            </a:r>
            <a:r>
              <a:rPr lang="de-DE" sz="1600" dirty="0">
                <a:cs typeface="Arial" charset="0"/>
              </a:rPr>
              <a:t>-spezifische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 Akzepte setzt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In den Dialog treten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299AC2B-E19D-121E-6953-D0425F256D46}"/>
              </a:ext>
            </a:extLst>
          </p:cNvPr>
          <p:cNvSpPr txBox="1"/>
          <p:nvPr/>
        </p:nvSpPr>
        <p:spPr>
          <a:xfrm>
            <a:off x="1653702" y="3202806"/>
            <a:ext cx="84991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6600" b="1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CH" sz="6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08129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Nächste Schrit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2</a:t>
            </a:fld>
            <a:endParaRPr lang="de-CH" dirty="0"/>
          </a:p>
        </p:txBody>
      </p:sp>
      <p:graphicFrame>
        <p:nvGraphicFramePr>
          <p:cNvPr id="16" name="Tabelle 5">
            <a:extLst>
              <a:ext uri="{FF2B5EF4-FFF2-40B4-BE49-F238E27FC236}">
                <a16:creationId xmlns:a16="http://schemas.microsoft.com/office/drawing/2014/main" id="{7A45F6A1-D0AA-5544-904D-288AB75616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950624"/>
              </p:ext>
            </p:extLst>
          </p:nvPr>
        </p:nvGraphicFramePr>
        <p:xfrm>
          <a:off x="1042987" y="1486113"/>
          <a:ext cx="7058026" cy="23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881">
                  <a:extLst>
                    <a:ext uri="{9D8B030D-6E8A-4147-A177-3AD203B41FA5}">
                      <a16:colId xmlns:a16="http://schemas.microsoft.com/office/drawing/2014/main" val="1812876424"/>
                    </a:ext>
                  </a:extLst>
                </a:gridCol>
                <a:gridCol w="6708145">
                  <a:extLst>
                    <a:ext uri="{9D8B030D-6E8A-4147-A177-3AD203B41FA5}">
                      <a16:colId xmlns:a16="http://schemas.microsoft.com/office/drawing/2014/main" val="294810593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de-CH" altLang="de-DE" sz="1800" b="1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</a:t>
                      </a:r>
                      <a:endParaRPr lang="de-DE" b="1" i="0" dirty="0">
                        <a:solidFill>
                          <a:schemeClr val="tx1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0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Dokumentation und Versand der heutigen Ergebnisse an alle Teilnehmend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28844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0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Formulierung des ersten Entwurfs der Change St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21741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0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Vorgehen zum Testen der Change St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3905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de-DE" b="1" i="0" dirty="0">
                        <a:solidFill>
                          <a:schemeClr val="tx1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altLang="de-DE" sz="1800" b="0" i="0" dirty="0">
                        <a:solidFill>
                          <a:schemeClr val="tx1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83449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endParaRPr lang="de-DE" b="1" i="0" dirty="0">
                        <a:solidFill>
                          <a:schemeClr val="tx1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1" i="0" dirty="0">
                          <a:solidFill>
                            <a:schemeClr val="tx1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Erzählen der Change Story in unterschiedlichen Form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013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69447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3781" y="2952000"/>
            <a:ext cx="3276759" cy="609227"/>
          </a:xfrm>
        </p:spPr>
        <p:txBody>
          <a:bodyPr/>
          <a:lstStyle/>
          <a:p>
            <a:r>
              <a:rPr lang="de-DE" sz="40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Check ou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99301" y="223838"/>
            <a:ext cx="1541462" cy="274637"/>
          </a:xfrm>
          <a:prstGeom prst="rect">
            <a:avLst/>
          </a:prstGeom>
        </p:spPr>
        <p:txBody>
          <a:bodyPr/>
          <a:lstStyle/>
          <a:p>
            <a:fld id="{DE1226C2-F133-44DF-AAED-DC1E350BCD78}" type="slidenum">
              <a:rPr lang="de-CH" smtClean="0"/>
              <a:t>23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4A160C2-8441-4947-A345-89E3DD938B86}"/>
              </a:ext>
            </a:extLst>
          </p:cNvPr>
          <p:cNvSpPr/>
          <p:nvPr/>
        </p:nvSpPr>
        <p:spPr>
          <a:xfrm>
            <a:off x="4953399" y="2267677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16E116-3F1A-5C43-A770-4CD1176E90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05067" y="2571750"/>
            <a:ext cx="2843276" cy="1445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5767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sz="2800" b="1" kern="1200" baseline="0" dirty="0"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Check out</a:t>
            </a:r>
            <a:r>
              <a:rPr lang="de-DE" sz="2000" dirty="0">
                <a:latin typeface="+mj-lt"/>
              </a:rPr>
              <a:t> </a:t>
            </a:r>
            <a:endParaRPr lang="de-DE" b="1" dirty="0">
              <a:latin typeface="+mj-lt"/>
              <a:cs typeface="Arial Narrow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4</a:t>
            </a:fld>
            <a:endParaRPr lang="de-CH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8BA62BD-0EF8-FD43-B12F-8AEB4020E785}"/>
              </a:ext>
            </a:extLst>
          </p:cNvPr>
          <p:cNvSpPr/>
          <p:nvPr/>
        </p:nvSpPr>
        <p:spPr bwMode="auto">
          <a:xfrm>
            <a:off x="1253596" y="1568034"/>
            <a:ext cx="2878083" cy="1528682"/>
          </a:xfrm>
          <a:prstGeom prst="rect">
            <a:avLst/>
          </a:prstGeom>
          <a:solidFill>
            <a:schemeClr val="bg1">
              <a:lumMod val="85000"/>
            </a:schemeClr>
          </a:solidFill>
          <a:ln w="889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65100" dist="38100" dir="2700000" sx="102000" sy="102000" algn="tl" rotWithShape="0">
              <a:prstClr val="black">
                <a:alpha val="24000"/>
              </a:prstClr>
            </a:outerShdw>
          </a:effectLst>
        </p:spPr>
        <p:txBody>
          <a:bodyPr vert="horz" wrap="square" lIns="180000" tIns="180000" rIns="180000" bIns="18000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sz="2800" i="1" dirty="0">
                <a:solidFill>
                  <a:srgbClr val="0070C0"/>
                </a:solidFill>
                <a:latin typeface="Freestyle Script" panose="030804020302050B0404" pitchFamily="66" charset="77"/>
              </a:rPr>
              <a:t>Wie habe ich den Workshop heute erlebt?</a:t>
            </a:r>
            <a:endParaRPr kumimoji="0" lang="de-DE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A5A920C-6BE8-8647-AEF2-7D6072E24A93}"/>
              </a:ext>
            </a:extLst>
          </p:cNvPr>
          <p:cNvSpPr/>
          <p:nvPr/>
        </p:nvSpPr>
        <p:spPr bwMode="auto">
          <a:xfrm>
            <a:off x="4475866" y="2027396"/>
            <a:ext cx="2813755" cy="1528682"/>
          </a:xfrm>
          <a:prstGeom prst="rect">
            <a:avLst/>
          </a:prstGeom>
          <a:solidFill>
            <a:schemeClr val="bg1">
              <a:lumMod val="85000"/>
            </a:schemeClr>
          </a:solidFill>
          <a:ln w="889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65100" dist="38100" dir="2700000" sx="102000" sy="102000" algn="tl" rotWithShape="0">
              <a:prstClr val="black">
                <a:alpha val="24000"/>
              </a:prstClr>
            </a:outerShdw>
          </a:effectLst>
        </p:spPr>
        <p:txBody>
          <a:bodyPr vert="horz" wrap="square" lIns="180000" tIns="180000" rIns="180000" bIns="18000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sz="2400" i="1" dirty="0">
                <a:solidFill>
                  <a:srgbClr val="0070C0"/>
                </a:solidFill>
                <a:latin typeface="Freestyle Script" panose="030804020302050B0404" pitchFamily="66" charset="77"/>
              </a:rPr>
              <a:t>Andere Gedanken und Impulse rückblickend zum heutigen Workshop.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0001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D0A0CAF-FAD7-5E46-A0A7-D59B987CFA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" t="24602" b="2605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F0E222F-1D6A-4E58-9AAB-D060516AF6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6184" y="2620714"/>
            <a:ext cx="1519781" cy="1421852"/>
          </a:xfrm>
          <a:prstGeom prst="rect">
            <a:avLst/>
          </a:prstGeom>
        </p:spPr>
      </p:pic>
      <p:sp>
        <p:nvSpPr>
          <p:cNvPr id="4" name="Textplatzhalter 2">
            <a:extLst>
              <a:ext uri="{FF2B5EF4-FFF2-40B4-BE49-F238E27FC236}">
                <a16:creationId xmlns:a16="http://schemas.microsoft.com/office/drawing/2014/main" id="{735F1C9F-9FCB-4BD5-9E93-D0B027A84E56}"/>
              </a:ext>
            </a:extLst>
          </p:cNvPr>
          <p:cNvSpPr txBox="1">
            <a:spLocks/>
          </p:cNvSpPr>
          <p:nvPr/>
        </p:nvSpPr>
        <p:spPr>
          <a:xfrm>
            <a:off x="510975" y="4460664"/>
            <a:ext cx="5575271" cy="39370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Werkzeuge für den Wandel © 2023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b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Digital Zug, Amt für Informatik und Organisation, Kant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 Zug, Schweiz ist 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lizenziert unter CC BY-NC-SA 4.0. Um eine Kopie dieser Lizenz anzuzeigen, besuchen Si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/>
              </a:rPr>
              <a:t>http://creativecommons.org/licenses/by-nc-sa/4.0/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1281A0B-19F1-4826-BDBD-737F78ED6F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46" y="4042566"/>
            <a:ext cx="913849" cy="31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399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410" y="1826336"/>
            <a:ext cx="4241735" cy="609227"/>
          </a:xfrm>
        </p:spPr>
        <p:txBody>
          <a:bodyPr/>
          <a:lstStyle/>
          <a:p>
            <a:r>
              <a:rPr lang="de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orkshop 2 oder  Fokusgruppe</a:t>
            </a:r>
            <a:endParaRPr lang="de-DE" sz="3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Instruktionen zum Testen der Change Sto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99301" y="223838"/>
            <a:ext cx="1541462" cy="274637"/>
          </a:xfrm>
          <a:prstGeom prst="rect">
            <a:avLst/>
          </a:prstGeom>
        </p:spPr>
        <p:txBody>
          <a:bodyPr/>
          <a:lstStyle/>
          <a:p>
            <a:fld id="{DE1226C2-F133-44DF-AAED-DC1E350BCD78}" type="slidenum">
              <a:rPr lang="de-CH" smtClean="0"/>
              <a:t>26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A0A1C9-7CDA-4E41-BD86-C5DD5DA7A668}"/>
              </a:ext>
            </a:extLst>
          </p:cNvPr>
          <p:cNvSpPr/>
          <p:nvPr/>
        </p:nvSpPr>
        <p:spPr>
          <a:xfrm>
            <a:off x="5264175" y="1873230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A0B844E-BDF4-9D49-8188-5BFB43082F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61378" y="1873230"/>
            <a:ext cx="2494417" cy="203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066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Agenda zum Testen der Change Sto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7</a:t>
            </a:fld>
            <a:endParaRPr lang="de-CH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76CD96D8-7D79-F743-9AC6-85FF4AE630A3}"/>
              </a:ext>
            </a:extLst>
          </p:cNvPr>
          <p:cNvSpPr txBox="1">
            <a:spLocks/>
          </p:cNvSpPr>
          <p:nvPr/>
        </p:nvSpPr>
        <p:spPr>
          <a:xfrm>
            <a:off x="1042988" y="4531179"/>
            <a:ext cx="1970699" cy="380546"/>
          </a:xfrm>
          <a:prstGeom prst="rect">
            <a:avLst/>
          </a:prstGeom>
        </p:spPr>
        <p:txBody>
          <a:bodyPr lIns="0" tIns="0" rIns="0" bIns="0"/>
          <a:lstStyle>
            <a:lvl1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+mj-lt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0" indent="-360000" algn="l" rtl="0" eaLnBrk="1" fontAlgn="base" hangingPunct="1">
              <a:lnSpc>
                <a:spcPts val="28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725488" indent="-360000" algn="l" rtl="0" eaLnBrk="0" fontAlgn="base" hangingPunct="0">
              <a:lnSpc>
                <a:spcPts val="32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1069975" indent="-360000" algn="l" rtl="0" eaLnBrk="0" fontAlgn="base" hangingPunct="0">
              <a:lnSpc>
                <a:spcPts val="32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18970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6pPr>
            <a:lvl7pPr marL="23542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7pPr>
            <a:lvl8pPr marL="28114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8pPr>
            <a:lvl9pPr marL="32686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2700" lvl="1" indent="0">
              <a:lnSpc>
                <a:spcPts val="2600"/>
              </a:lnSpc>
              <a:spcBef>
                <a:spcPts val="1000"/>
              </a:spcBef>
            </a:pPr>
            <a:r>
              <a:rPr lang="de-CH" altLang="de-DE" sz="1200" kern="0" dirty="0"/>
              <a:t>* Ausreichend Pausen einplanen</a:t>
            </a:r>
          </a:p>
        </p:txBody>
      </p:sp>
      <p:graphicFrame>
        <p:nvGraphicFramePr>
          <p:cNvPr id="42" name="Tabelle 5">
            <a:extLst>
              <a:ext uri="{FF2B5EF4-FFF2-40B4-BE49-F238E27FC236}">
                <a16:creationId xmlns:a16="http://schemas.microsoft.com/office/drawing/2014/main" id="{734ED974-85B0-804C-A4EA-FEDFBD3325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527153"/>
              </p:ext>
            </p:extLst>
          </p:nvPr>
        </p:nvGraphicFramePr>
        <p:xfrm>
          <a:off x="1042987" y="1486113"/>
          <a:ext cx="7088665" cy="140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043">
                  <a:extLst>
                    <a:ext uri="{9D8B030D-6E8A-4147-A177-3AD203B41FA5}">
                      <a16:colId xmlns:a16="http://schemas.microsoft.com/office/drawing/2014/main" val="1812876424"/>
                    </a:ext>
                  </a:extLst>
                </a:gridCol>
                <a:gridCol w="5932073">
                  <a:extLst>
                    <a:ext uri="{9D8B030D-6E8A-4147-A177-3AD203B41FA5}">
                      <a16:colId xmlns:a16="http://schemas.microsoft.com/office/drawing/2014/main" val="2948105938"/>
                    </a:ext>
                  </a:extLst>
                </a:gridCol>
                <a:gridCol w="816549">
                  <a:extLst>
                    <a:ext uri="{9D8B030D-6E8A-4147-A177-3AD203B41FA5}">
                      <a16:colId xmlns:a16="http://schemas.microsoft.com/office/drawing/2014/main" val="2347210613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de-CH" altLang="de-DE" sz="1800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</a:t>
                      </a:r>
                      <a:endParaRPr lang="de-DE" b="1" i="0" dirty="0">
                        <a:solidFill>
                          <a:sysClr val="windowText" lastClr="000000"/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b="0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Vorstellung der Change St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15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28844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baseline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altLang="de-DE" sz="1800" dirty="0"/>
                        <a:t>Diskussion in Kleingruppen</a:t>
                      </a:r>
                      <a:endParaRPr lang="de-CH" alt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2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21741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de-DE" b="1" i="0" dirty="0">
                          <a:solidFill>
                            <a:sysClr val="windowText" lastClr="000000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altLang="de-DE" sz="1800" dirty="0"/>
                        <a:t>Was würde die Change Story noch besser mach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1" i="0" dirty="0">
                          <a:solidFill>
                            <a:srgbClr val="006FB5"/>
                          </a:solidFill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20 mi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3905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37996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Diskuss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8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Geht zuerst in 2er- oder 3er-Gruppen zusammen und diskutiert folgende drei Fragen (jeweils 5 Minuten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>
                <a:latin typeface="+mj-lt"/>
              </a:rPr>
              <a:t>Was finden wir gut an der Change Story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>
                <a:latin typeface="+mj-lt"/>
              </a:rPr>
              <a:t>Welche Fragen haben wir zur Change Story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>
                <a:latin typeface="+mj-lt"/>
              </a:rPr>
              <a:t>Wo stimmen wir nicht zu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800" dirty="0">
              <a:latin typeface="+mj-lt"/>
            </a:endParaRPr>
          </a:p>
          <a:p>
            <a:pPr marL="0" indent="0">
              <a:buNone/>
            </a:pPr>
            <a:r>
              <a:rPr lang="de-DE" sz="1800" dirty="0">
                <a:latin typeface="+mj-lt"/>
              </a:rPr>
              <a:t>Teilt eure Erkenntnisse </a:t>
            </a:r>
            <a:r>
              <a:rPr lang="de-DE" sz="1800" dirty="0" err="1">
                <a:latin typeface="+mj-lt"/>
              </a:rPr>
              <a:t>anschliessend</a:t>
            </a:r>
            <a:r>
              <a:rPr lang="de-DE" sz="1800" dirty="0">
                <a:latin typeface="+mj-lt"/>
              </a:rPr>
              <a:t> in der Gesamtgruppe und leitet aus der Diskussion ab, wie die Change Story noch überzeugender erzählt werden könnte. </a:t>
            </a:r>
          </a:p>
        </p:txBody>
      </p:sp>
    </p:spTree>
    <p:extLst>
      <p:ext uri="{BB962C8B-B14F-4D97-AF65-F5344CB8AC3E}">
        <p14:creationId xmlns:p14="http://schemas.microsoft.com/office/powerpoint/2010/main" val="32659643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b="1" dirty="0"/>
              <a:t>Was würde die Story noch besser machen?</a:t>
            </a:r>
            <a:endParaRPr lang="de-DE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E1226C2-F133-44DF-AAED-DC1E350BCD78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Arial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C83934F-0264-F324-3A02-344C41A982A0}"/>
              </a:ext>
            </a:extLst>
          </p:cNvPr>
          <p:cNvGrpSpPr/>
          <p:nvPr/>
        </p:nvGrpSpPr>
        <p:grpSpPr>
          <a:xfrm>
            <a:off x="1103520" y="1578034"/>
            <a:ext cx="2472120" cy="3231720"/>
            <a:chOff x="1317837" y="1529403"/>
            <a:chExt cx="2472120" cy="3231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">
              <p14:nvContentPartPr>
                <p14:cNvPr id="6" name="Freihand 5">
                  <a:extLst>
                    <a:ext uri="{FF2B5EF4-FFF2-40B4-BE49-F238E27FC236}">
                      <a16:creationId xmlns:a16="http://schemas.microsoft.com/office/drawing/2014/main" id="{3C1612B9-D2E3-6AF2-95DC-8A2BEFADD8D1}"/>
                    </a:ext>
                  </a:extLst>
                </p14:cNvPr>
                <p14:cNvContentPartPr/>
                <p14:nvPr/>
              </p14:nvContentPartPr>
              <p14:xfrm>
                <a:off x="1317837" y="1551363"/>
                <a:ext cx="37080" cy="3179520"/>
              </p14:xfrm>
            </p:contentPart>
          </mc:Choice>
          <mc:Fallback xmlns="">
            <p:pic>
              <p:nvPicPr>
                <p:cNvPr id="6" name="Freihand 5">
                  <a:extLst>
                    <a:ext uri="{FF2B5EF4-FFF2-40B4-BE49-F238E27FC236}">
                      <a16:creationId xmlns:a16="http://schemas.microsoft.com/office/drawing/2014/main" id="{3C1612B9-D2E3-6AF2-95DC-8A2BEFADD8D1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308837" y="1542364"/>
                  <a:ext cx="54720" cy="319715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BAD9AFCA-550F-8088-79D3-9D79D13005B2}"/>
                    </a:ext>
                  </a:extLst>
                </p14:cNvPr>
                <p14:cNvContentPartPr/>
                <p14:nvPr/>
              </p14:nvContentPartPr>
              <p14:xfrm>
                <a:off x="3686637" y="1583043"/>
                <a:ext cx="103320" cy="3178080"/>
              </p14:xfrm>
            </p:contentPart>
          </mc:Choice>
          <mc:Fallback xmlns=""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BAD9AFCA-550F-8088-79D3-9D79D13005B2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677637" y="1574043"/>
                  <a:ext cx="120960" cy="319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E545DCA5-B395-506E-A696-CE0727312AD9}"/>
                    </a:ext>
                  </a:extLst>
                </p14:cNvPr>
                <p14:cNvContentPartPr/>
                <p14:nvPr/>
              </p14:nvContentPartPr>
              <p14:xfrm>
                <a:off x="1344117" y="4721163"/>
                <a:ext cx="2338200" cy="39960"/>
              </p14:xfrm>
            </p:contentPart>
          </mc:Choice>
          <mc:Fallback xmlns=""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E545DCA5-B395-506E-A696-CE0727312AD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35117" y="4712163"/>
                  <a:ext cx="2355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049DEB7A-D50D-C510-80C4-E7052092EAF9}"/>
                    </a:ext>
                  </a:extLst>
                </p14:cNvPr>
                <p14:cNvContentPartPr/>
                <p14:nvPr/>
              </p14:nvContentPartPr>
              <p14:xfrm>
                <a:off x="1332597" y="1529403"/>
                <a:ext cx="2431440" cy="63720"/>
              </p14:xfrm>
            </p:contentPart>
          </mc:Choice>
          <mc:Fallback xmlns=""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049DEB7A-D50D-C510-80C4-E7052092EAF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323598" y="1520403"/>
                  <a:ext cx="2449077" cy="8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D6145FA-1511-930A-FCF7-E2A61B919B5D}"/>
              </a:ext>
            </a:extLst>
          </p:cNvPr>
          <p:cNvGrpSpPr/>
          <p:nvPr/>
        </p:nvGrpSpPr>
        <p:grpSpPr>
          <a:xfrm>
            <a:off x="3687913" y="1592004"/>
            <a:ext cx="2472120" cy="3231720"/>
            <a:chOff x="1317837" y="1529403"/>
            <a:chExt cx="2472120" cy="3231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4" name="Freihand 13">
                  <a:extLst>
                    <a:ext uri="{FF2B5EF4-FFF2-40B4-BE49-F238E27FC236}">
                      <a16:creationId xmlns:a16="http://schemas.microsoft.com/office/drawing/2014/main" id="{828CC316-FA81-2A45-11AB-B57612AC573C}"/>
                    </a:ext>
                  </a:extLst>
                </p14:cNvPr>
                <p14:cNvContentPartPr/>
                <p14:nvPr/>
              </p14:nvContentPartPr>
              <p14:xfrm>
                <a:off x="1317837" y="1551363"/>
                <a:ext cx="37080" cy="3179520"/>
              </p14:xfrm>
            </p:contentPart>
          </mc:Choice>
          <mc:Fallback xmlns="">
            <p:pic>
              <p:nvPicPr>
                <p:cNvPr id="14" name="Freihand 13">
                  <a:extLst>
                    <a:ext uri="{FF2B5EF4-FFF2-40B4-BE49-F238E27FC236}">
                      <a16:creationId xmlns:a16="http://schemas.microsoft.com/office/drawing/2014/main" id="{828CC316-FA81-2A45-11AB-B57612AC573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308837" y="1542364"/>
                  <a:ext cx="54720" cy="319715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90E1A26C-5867-E65A-606B-A3EB9B783CF8}"/>
                    </a:ext>
                  </a:extLst>
                </p14:cNvPr>
                <p14:cNvContentPartPr/>
                <p14:nvPr/>
              </p14:nvContentPartPr>
              <p14:xfrm>
                <a:off x="3686637" y="1583043"/>
                <a:ext cx="103320" cy="3178080"/>
              </p14:xfrm>
            </p:contentPart>
          </mc:Choice>
          <mc:Fallback xmlns=""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90E1A26C-5867-E65A-606B-A3EB9B783CF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677637" y="1574043"/>
                  <a:ext cx="120960" cy="319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A9751F75-AB35-12E5-568D-0FD76C76202E}"/>
                    </a:ext>
                  </a:extLst>
                </p14:cNvPr>
                <p14:cNvContentPartPr/>
                <p14:nvPr/>
              </p14:nvContentPartPr>
              <p14:xfrm>
                <a:off x="1344117" y="4721163"/>
                <a:ext cx="2338200" cy="39960"/>
              </p14:xfrm>
            </p:contentPart>
          </mc:Choice>
          <mc:Fallback xmlns=""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A9751F75-AB35-12E5-568D-0FD76C76202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335117" y="4712163"/>
                  <a:ext cx="2355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27DB9A6D-00FE-AB11-2281-8AF3D5308F00}"/>
                    </a:ext>
                  </a:extLst>
                </p14:cNvPr>
                <p14:cNvContentPartPr/>
                <p14:nvPr/>
              </p14:nvContentPartPr>
              <p14:xfrm>
                <a:off x="1332597" y="1529403"/>
                <a:ext cx="2431440" cy="63720"/>
              </p14:xfrm>
            </p:contentPart>
          </mc:Choice>
          <mc:Fallback xmlns=""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27DB9A6D-00FE-AB11-2281-8AF3D5308F00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323598" y="1520403"/>
                  <a:ext cx="2449077" cy="8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979B36F-4908-2403-9110-0586091A4FE7}"/>
              </a:ext>
            </a:extLst>
          </p:cNvPr>
          <p:cNvGrpSpPr/>
          <p:nvPr/>
        </p:nvGrpSpPr>
        <p:grpSpPr>
          <a:xfrm>
            <a:off x="6237143" y="1604962"/>
            <a:ext cx="2472120" cy="3231720"/>
            <a:chOff x="1317837" y="1529403"/>
            <a:chExt cx="2472120" cy="3231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21" name="Freihand 20">
                  <a:extLst>
                    <a:ext uri="{FF2B5EF4-FFF2-40B4-BE49-F238E27FC236}">
                      <a16:creationId xmlns:a16="http://schemas.microsoft.com/office/drawing/2014/main" id="{979FD6E9-3BE3-BDC4-BC6B-041621213E0B}"/>
                    </a:ext>
                  </a:extLst>
                </p14:cNvPr>
                <p14:cNvContentPartPr/>
                <p14:nvPr/>
              </p14:nvContentPartPr>
              <p14:xfrm>
                <a:off x="1317837" y="1551363"/>
                <a:ext cx="37080" cy="3179520"/>
              </p14:xfrm>
            </p:contentPart>
          </mc:Choice>
          <mc:Fallback xmlns="">
            <p:pic>
              <p:nvPicPr>
                <p:cNvPr id="21" name="Freihand 20">
                  <a:extLst>
                    <a:ext uri="{FF2B5EF4-FFF2-40B4-BE49-F238E27FC236}">
                      <a16:creationId xmlns:a16="http://schemas.microsoft.com/office/drawing/2014/main" id="{979FD6E9-3BE3-BDC4-BC6B-041621213E0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308837" y="1542364"/>
                  <a:ext cx="54720" cy="319715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2" name="Freihand 21">
                  <a:extLst>
                    <a:ext uri="{FF2B5EF4-FFF2-40B4-BE49-F238E27FC236}">
                      <a16:creationId xmlns:a16="http://schemas.microsoft.com/office/drawing/2014/main" id="{CA2D3FF3-5DFC-45D6-AD52-159CF09B24E4}"/>
                    </a:ext>
                  </a:extLst>
                </p14:cNvPr>
                <p14:cNvContentPartPr/>
                <p14:nvPr/>
              </p14:nvContentPartPr>
              <p14:xfrm>
                <a:off x="3686637" y="1583043"/>
                <a:ext cx="103320" cy="3178080"/>
              </p14:xfrm>
            </p:contentPart>
          </mc:Choice>
          <mc:Fallback xmlns="">
            <p:pic>
              <p:nvPicPr>
                <p:cNvPr id="22" name="Freihand 21">
                  <a:extLst>
                    <a:ext uri="{FF2B5EF4-FFF2-40B4-BE49-F238E27FC236}">
                      <a16:creationId xmlns:a16="http://schemas.microsoft.com/office/drawing/2014/main" id="{CA2D3FF3-5DFC-45D6-AD52-159CF09B24E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677637" y="1574043"/>
                  <a:ext cx="120960" cy="319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3" name="Freihand 22">
                  <a:extLst>
                    <a:ext uri="{FF2B5EF4-FFF2-40B4-BE49-F238E27FC236}">
                      <a16:creationId xmlns:a16="http://schemas.microsoft.com/office/drawing/2014/main" id="{191036C1-BD8A-C1DE-6BDB-A447263887A2}"/>
                    </a:ext>
                  </a:extLst>
                </p14:cNvPr>
                <p14:cNvContentPartPr/>
                <p14:nvPr/>
              </p14:nvContentPartPr>
              <p14:xfrm>
                <a:off x="1344117" y="4721163"/>
                <a:ext cx="2338200" cy="39960"/>
              </p14:xfrm>
            </p:contentPart>
          </mc:Choice>
          <mc:Fallback xmlns="">
            <p:pic>
              <p:nvPicPr>
                <p:cNvPr id="23" name="Freihand 22">
                  <a:extLst>
                    <a:ext uri="{FF2B5EF4-FFF2-40B4-BE49-F238E27FC236}">
                      <a16:creationId xmlns:a16="http://schemas.microsoft.com/office/drawing/2014/main" id="{191036C1-BD8A-C1DE-6BDB-A447263887A2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335117" y="4712163"/>
                  <a:ext cx="2355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4" name="Freihand 23">
                  <a:extLst>
                    <a:ext uri="{FF2B5EF4-FFF2-40B4-BE49-F238E27FC236}">
                      <a16:creationId xmlns:a16="http://schemas.microsoft.com/office/drawing/2014/main" id="{9CF7E116-21E5-B97A-6F20-5E7E194ED681}"/>
                    </a:ext>
                  </a:extLst>
                </p14:cNvPr>
                <p14:cNvContentPartPr/>
                <p14:nvPr/>
              </p14:nvContentPartPr>
              <p14:xfrm>
                <a:off x="1332597" y="1529403"/>
                <a:ext cx="2431440" cy="63720"/>
              </p14:xfrm>
            </p:contentPart>
          </mc:Choice>
          <mc:Fallback xmlns="">
            <p:pic>
              <p:nvPicPr>
                <p:cNvPr id="24" name="Freihand 23">
                  <a:extLst>
                    <a:ext uri="{FF2B5EF4-FFF2-40B4-BE49-F238E27FC236}">
                      <a16:creationId xmlns:a16="http://schemas.microsoft.com/office/drawing/2014/main" id="{9CF7E116-21E5-B97A-6F20-5E7E194ED681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323598" y="1520403"/>
                  <a:ext cx="2449077" cy="8136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00B8CA92-EC41-41D0-BA71-F1472839942A}"/>
              </a:ext>
            </a:extLst>
          </p:cNvPr>
          <p:cNvSpPr txBox="1"/>
          <p:nvPr/>
        </p:nvSpPr>
        <p:spPr>
          <a:xfrm>
            <a:off x="1178294" y="1735919"/>
            <a:ext cx="22155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ＭＳ Ｐゴシック" panose="020B0600070205080204" pitchFamily="34" charset="-128"/>
                <a:cs typeface="Arial"/>
              </a:rPr>
              <a:t>Was könnte noch aufgenommen / anders erzählt werden?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63B3C3F-C20B-45DE-9BAF-A1E59CE45AD8}"/>
              </a:ext>
            </a:extLst>
          </p:cNvPr>
          <p:cNvSpPr txBox="1"/>
          <p:nvPr/>
        </p:nvSpPr>
        <p:spPr>
          <a:xfrm>
            <a:off x="3756527" y="1709192"/>
            <a:ext cx="22155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ＭＳ Ｐゴシック" panose="020B0600070205080204" pitchFamily="34" charset="-128"/>
                <a:cs typeface="Arial"/>
              </a:rPr>
              <a:t>Was sollte vielleicht </a:t>
            </a:r>
            <a:r>
              <a:rPr lang="de-DE" sz="1800" dirty="0">
                <a:solidFill>
                  <a:srgbClr val="000000"/>
                </a:solidFill>
                <a:latin typeface="Arial Narrow"/>
                <a:cs typeface="Arial"/>
              </a:rPr>
              <a:t>doch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ＭＳ Ｐゴシック" panose="020B0600070205080204" pitchFamily="34" charset="-128"/>
                <a:cs typeface="Arial"/>
              </a:rPr>
              <a:t>wegfallen?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005A085-0DA3-43FB-ADFC-62B8F8F8FAB2}"/>
              </a:ext>
            </a:extLst>
          </p:cNvPr>
          <p:cNvSpPr txBox="1"/>
          <p:nvPr/>
        </p:nvSpPr>
        <p:spPr>
          <a:xfrm>
            <a:off x="6323151" y="1735918"/>
            <a:ext cx="22155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ＭＳ Ｐゴシック" panose="020B0600070205080204" pitchFamily="34" charset="-128"/>
                <a:cs typeface="Arial"/>
              </a:rPr>
              <a:t>Was soll unbedingt so  bleiben? 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0D78ADDB-907D-465A-87C9-EA5C3209BD35}"/>
              </a:ext>
            </a:extLst>
          </p:cNvPr>
          <p:cNvSpPr/>
          <p:nvPr/>
        </p:nvSpPr>
        <p:spPr bwMode="auto">
          <a:xfrm>
            <a:off x="2688591" y="4081780"/>
            <a:ext cx="657120" cy="550150"/>
          </a:xfrm>
          <a:prstGeom prst="ellipse">
            <a:avLst/>
          </a:prstGeom>
          <a:solidFill>
            <a:srgbClr val="8DE8D5"/>
          </a:solidFill>
          <a:ln w="9525" cap="flat" cmpd="sng" algn="ctr">
            <a:solidFill>
              <a:srgbClr val="8DE8D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itchFamily="34" charset="0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0FC2ED5-7B9B-4861-9403-F7259F4E93BB}"/>
              </a:ext>
            </a:extLst>
          </p:cNvPr>
          <p:cNvSpPr txBox="1"/>
          <p:nvPr/>
        </p:nvSpPr>
        <p:spPr>
          <a:xfrm>
            <a:off x="2768360" y="4197287"/>
            <a:ext cx="4539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Arial"/>
              </a:rPr>
              <a:t>Neu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CF604A2F-BDCE-4697-9A89-0AA56C539D10}"/>
              </a:ext>
            </a:extLst>
          </p:cNvPr>
          <p:cNvSpPr/>
          <p:nvPr/>
        </p:nvSpPr>
        <p:spPr bwMode="auto">
          <a:xfrm>
            <a:off x="5270538" y="4114474"/>
            <a:ext cx="657120" cy="550150"/>
          </a:xfrm>
          <a:prstGeom prst="ellipse">
            <a:avLst/>
          </a:prstGeom>
          <a:solidFill>
            <a:srgbClr val="849398"/>
          </a:solidFill>
          <a:ln w="9525" cap="flat" cmpd="sng" algn="ctr">
            <a:solidFill>
              <a:srgbClr val="84939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itchFamily="34" charset="0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E1E32F-90C7-41EE-9B18-7998706DBCAD}"/>
              </a:ext>
            </a:extLst>
          </p:cNvPr>
          <p:cNvSpPr txBox="1"/>
          <p:nvPr/>
        </p:nvSpPr>
        <p:spPr>
          <a:xfrm>
            <a:off x="5312643" y="4229981"/>
            <a:ext cx="5277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Arial"/>
              </a:rPr>
              <a:t>Raus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66E994E1-F4ED-4DDC-B38C-7E3F4A686913}"/>
              </a:ext>
            </a:extLst>
          </p:cNvPr>
          <p:cNvSpPr/>
          <p:nvPr/>
        </p:nvSpPr>
        <p:spPr bwMode="auto">
          <a:xfrm>
            <a:off x="7860741" y="4098911"/>
            <a:ext cx="657120" cy="550150"/>
          </a:xfrm>
          <a:prstGeom prst="ellipse">
            <a:avLst/>
          </a:prstGeom>
          <a:solidFill>
            <a:srgbClr val="006FB5"/>
          </a:solidFill>
          <a:ln w="9525" cap="flat" cmpd="sng" algn="ctr">
            <a:solidFill>
              <a:srgbClr val="006FB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itchFamily="34" charset="0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D039D53-7577-45B0-BB7E-D6F2F9D356BF}"/>
              </a:ext>
            </a:extLst>
          </p:cNvPr>
          <p:cNvSpPr txBox="1"/>
          <p:nvPr/>
        </p:nvSpPr>
        <p:spPr>
          <a:xfrm>
            <a:off x="7909361" y="4205917"/>
            <a:ext cx="5533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Arial"/>
              </a:rPr>
              <a:t>Passt</a:t>
            </a:r>
          </a:p>
        </p:txBody>
      </p:sp>
    </p:spTree>
    <p:extLst>
      <p:ext uri="{BB962C8B-B14F-4D97-AF65-F5344CB8AC3E}">
        <p14:creationId xmlns:p14="http://schemas.microsoft.com/office/powerpoint/2010/main" val="24216621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55838" y="3021706"/>
            <a:ext cx="3276759" cy="609227"/>
          </a:xfrm>
        </p:spPr>
        <p:txBody>
          <a:bodyPr/>
          <a:lstStyle/>
          <a:p>
            <a:r>
              <a:rPr lang="de-DE" sz="5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Impuls</a:t>
            </a:r>
            <a:endParaRPr lang="de-DE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4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CH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600" kern="1200"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fld id="{DE1226C2-F133-44DF-AAED-DC1E350BCD78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5FFE912-999F-AE4F-A9E3-BC689B79A397}"/>
              </a:ext>
            </a:extLst>
          </p:cNvPr>
          <p:cNvSpPr/>
          <p:nvPr/>
        </p:nvSpPr>
        <p:spPr>
          <a:xfrm>
            <a:off x="5316256" y="2470556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3CC606-82E1-D41D-C843-905AE6510B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3107" y="2414971"/>
            <a:ext cx="2358973" cy="182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9408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sz="2800" b="1" kern="1200" baseline="0" dirty="0"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Check out</a:t>
            </a:r>
            <a:r>
              <a:rPr lang="de-DE" sz="2000" dirty="0">
                <a:latin typeface="+mj-lt"/>
              </a:rPr>
              <a:t> </a:t>
            </a:r>
            <a:endParaRPr lang="de-DE" b="1" dirty="0">
              <a:latin typeface="+mj-lt"/>
              <a:cs typeface="Arial Narrow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30</a:t>
            </a:fld>
            <a:endParaRPr lang="de-CH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8BA62BD-0EF8-FD43-B12F-8AEB4020E785}"/>
              </a:ext>
            </a:extLst>
          </p:cNvPr>
          <p:cNvSpPr/>
          <p:nvPr/>
        </p:nvSpPr>
        <p:spPr bwMode="auto">
          <a:xfrm>
            <a:off x="1253596" y="1568034"/>
            <a:ext cx="2878083" cy="1528682"/>
          </a:xfrm>
          <a:prstGeom prst="rect">
            <a:avLst/>
          </a:prstGeom>
          <a:solidFill>
            <a:schemeClr val="bg1">
              <a:lumMod val="85000"/>
            </a:schemeClr>
          </a:solidFill>
          <a:ln w="889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65100" dist="38100" dir="2700000" sx="102000" sy="102000" algn="tl" rotWithShape="0">
              <a:prstClr val="black">
                <a:alpha val="24000"/>
              </a:prstClr>
            </a:outerShdw>
          </a:effectLst>
        </p:spPr>
        <p:txBody>
          <a:bodyPr vert="horz" wrap="square" lIns="180000" tIns="180000" rIns="180000" bIns="18000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sz="2800" i="1" dirty="0">
                <a:solidFill>
                  <a:srgbClr val="0070C0"/>
                </a:solidFill>
                <a:latin typeface="Freestyle Script" panose="030804020302050B0404" pitchFamily="66" charset="77"/>
              </a:rPr>
              <a:t>Wie habe ich den Workshop heute erlebt?</a:t>
            </a:r>
            <a:endParaRPr kumimoji="0" lang="de-DE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A5A920C-6BE8-8647-AEF2-7D6072E24A93}"/>
              </a:ext>
            </a:extLst>
          </p:cNvPr>
          <p:cNvSpPr/>
          <p:nvPr/>
        </p:nvSpPr>
        <p:spPr bwMode="auto">
          <a:xfrm>
            <a:off x="4475866" y="2027396"/>
            <a:ext cx="2813755" cy="1528682"/>
          </a:xfrm>
          <a:prstGeom prst="rect">
            <a:avLst/>
          </a:prstGeom>
          <a:solidFill>
            <a:schemeClr val="bg1">
              <a:lumMod val="85000"/>
            </a:schemeClr>
          </a:solidFill>
          <a:ln w="889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65100" dist="38100" dir="2700000" sx="102000" sy="102000" algn="tl" rotWithShape="0">
              <a:prstClr val="black">
                <a:alpha val="24000"/>
              </a:prstClr>
            </a:outerShdw>
          </a:effectLst>
        </p:spPr>
        <p:txBody>
          <a:bodyPr vert="horz" wrap="square" lIns="180000" tIns="180000" rIns="180000" bIns="18000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sz="2400" i="1" dirty="0">
                <a:solidFill>
                  <a:srgbClr val="0070C0"/>
                </a:solidFill>
                <a:latin typeface="Freestyle Script" panose="030804020302050B0404" pitchFamily="66" charset="77"/>
              </a:rPr>
              <a:t>Andere Gedanken und Impulse rückblickend zum heutigen Workshop.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805EAC-9333-38F4-62C2-3B7A8278C3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0497" y="3403023"/>
            <a:ext cx="2843276" cy="1445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4400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D0A0CAF-FAD7-5E46-A0A7-D59B987CFA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" t="24602" b="2605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F0E222F-1D6A-4E58-9AAB-D060516AF6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6184" y="2620714"/>
            <a:ext cx="1519781" cy="1421852"/>
          </a:xfrm>
          <a:prstGeom prst="rect">
            <a:avLst/>
          </a:prstGeom>
        </p:spPr>
      </p:pic>
      <p:sp>
        <p:nvSpPr>
          <p:cNvPr id="4" name="Textplatzhalter 2">
            <a:extLst>
              <a:ext uri="{FF2B5EF4-FFF2-40B4-BE49-F238E27FC236}">
                <a16:creationId xmlns:a16="http://schemas.microsoft.com/office/drawing/2014/main" id="{735F1C9F-9FCB-4BD5-9E93-D0B027A84E56}"/>
              </a:ext>
            </a:extLst>
          </p:cNvPr>
          <p:cNvSpPr txBox="1">
            <a:spLocks/>
          </p:cNvSpPr>
          <p:nvPr/>
        </p:nvSpPr>
        <p:spPr>
          <a:xfrm>
            <a:off x="510975" y="4460664"/>
            <a:ext cx="5575271" cy="39370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Werkzeuge für den Wandel © 2023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b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Digital Zug, Amt für Informatik und Organisation, Kant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 Zug, Schweiz ist 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lizenziert unter CC BY-NC-SA 4.0. Um eine Kopie dieser Lizenz anzuzeigen, besuchen Si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/>
              </a:rPr>
              <a:t>http://creativecommons.org/licenses/by-nc-sa/4.0/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1281A0B-19F1-4826-BDBD-737F78ED6F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46" y="4042566"/>
            <a:ext cx="913849" cy="31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048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3A28810-1B3F-8036-CD3F-B0B00A228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2988" y="853200"/>
            <a:ext cx="7532393" cy="360362"/>
          </a:xfrm>
        </p:spPr>
        <p:txBody>
          <a:bodyPr/>
          <a:lstStyle/>
          <a:p>
            <a:r>
              <a:rPr lang="de-DE" b="1" dirty="0"/>
              <a:t>Weshalb wollen wir eine Change Story entwickel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C287600-F2F6-C092-8DB1-3A94238F6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4</a:t>
            </a:fld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4E5ABF3-4D8B-5977-878A-2B9896E29D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1848" y="1381410"/>
            <a:ext cx="7149165" cy="3277675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8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ine Veränderung wird nur akzeptiert, wenn zentrale Fragen nach dem Warum beantwortet werden und die Veränderung einen Zweck erfüllt.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800" dirty="0">
                <a:latin typeface="Arial Narrow" panose="020B0606020202030204" pitchFamily="34" charset="0"/>
                <a:cs typeface="Arial" panose="020B0604020202020204" pitchFamily="34" charset="0"/>
              </a:rPr>
              <a:t>Diese Fragen und dazu gehörigen Antworten wollen wir heute mithilfe eines Templates bündeln und strukturieren, so dass eine schlüssige Beschreibung der Veränderung entsteht.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800" dirty="0">
                <a:latin typeface="Arial Narrow" panose="020B0606020202030204" pitchFamily="34" charset="0"/>
                <a:cs typeface="Arial" panose="020B0604020202020204" pitchFamily="34" charset="0"/>
              </a:rPr>
              <a:t>Während dieses Prozesses versetzten wir uns die Situation der betroffenen sowie beteiligten Personen hinein. So stellen wir die Menschen ins Zentrum unserer Veränderung.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A3142DA-35D0-2884-FF2A-7496267244BF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9838" y="2340259"/>
            <a:ext cx="1008000" cy="4571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DBAFB1B-0B53-C16A-C52A-5348F43E63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9617090">
            <a:off x="539745" y="1996457"/>
            <a:ext cx="483195" cy="74948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D4E63FC-2A8D-6ACC-CF87-1603DEC022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13336" y="1893526"/>
            <a:ext cx="1275922" cy="231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89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55FCED6-9D9B-32E8-F6D4-DBC50E1311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as bewirkt eine gute Change Story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6CCB2B-CCCA-7036-EA48-18E43ECFC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5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0C4C43-8750-9063-5258-8830D7DE9B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spcAft>
                <a:spcPts val="600"/>
              </a:spcAft>
              <a:buSzPct val="80000"/>
              <a:buFont typeface="Wingdings" pitchFamily="2" charset="2"/>
              <a:buChar char="§"/>
            </a:pPr>
            <a:r>
              <a:rPr lang="de-DE" dirty="0">
                <a:latin typeface="+mj-lt"/>
              </a:rPr>
              <a:t>erklärt, warum der Wandel notwendig ist</a:t>
            </a:r>
          </a:p>
          <a:p>
            <a:pPr marL="342900" indent="-342900">
              <a:spcAft>
                <a:spcPts val="600"/>
              </a:spcAft>
              <a:buSzPct val="80000"/>
              <a:buFont typeface="Wingdings" pitchFamily="2" charset="2"/>
              <a:buChar char="§"/>
            </a:pPr>
            <a:r>
              <a:rPr lang="de-DE" dirty="0">
                <a:latin typeface="+mj-lt"/>
              </a:rPr>
              <a:t>klärt auf über den Umfang der Veränderung sowie zentrale Elemente, Eckpunkte oder Rahmenbedingungen </a:t>
            </a:r>
          </a:p>
          <a:p>
            <a:pPr marL="342900" indent="-342900">
              <a:spcAft>
                <a:spcPts val="600"/>
              </a:spcAft>
              <a:buSzPct val="80000"/>
              <a:buFont typeface="Wingdings" pitchFamily="2" charset="2"/>
              <a:buChar char="§"/>
            </a:pPr>
            <a:r>
              <a:rPr lang="de-DE" dirty="0">
                <a:latin typeface="+mj-lt"/>
              </a:rPr>
              <a:t>wertschätzt in der Vergangenheit Erreichtes</a:t>
            </a:r>
          </a:p>
          <a:p>
            <a:pPr marL="342900" indent="-342900">
              <a:spcAft>
                <a:spcPts val="600"/>
              </a:spcAft>
              <a:buSzPct val="80000"/>
              <a:buFont typeface="Wingdings" pitchFamily="2" charset="2"/>
              <a:buChar char="§"/>
            </a:pPr>
            <a:r>
              <a:rPr lang="de-DE" dirty="0">
                <a:latin typeface="+mj-lt"/>
              </a:rPr>
              <a:t>bildet eine Brücke zwischen der Welt von heute und morgen</a:t>
            </a:r>
          </a:p>
          <a:p>
            <a:pPr marL="342900" indent="-342900">
              <a:spcAft>
                <a:spcPts val="600"/>
              </a:spcAft>
              <a:buSzPct val="80000"/>
              <a:buFont typeface="Wingdings" pitchFamily="2" charset="2"/>
              <a:buChar char="§"/>
            </a:pPr>
            <a:r>
              <a:rPr lang="de-DE" dirty="0">
                <a:latin typeface="+mj-lt"/>
              </a:rPr>
              <a:t>macht den Wandel persönlich, begeistert und involviert</a:t>
            </a:r>
          </a:p>
        </p:txBody>
      </p:sp>
    </p:spTree>
    <p:extLst>
      <p:ext uri="{BB962C8B-B14F-4D97-AF65-F5344CB8AC3E}">
        <p14:creationId xmlns:p14="http://schemas.microsoft.com/office/powerpoint/2010/main" val="23635724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48AA6A1-5CB0-18F1-1AC9-CC9CB06A3E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Was charakterisiert eine gute Change Story?</a:t>
            </a:r>
          </a:p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A1E716-8AEF-4404-C7D9-9856B9630C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6</a:t>
            </a:fld>
            <a:endParaRPr lang="de-CH" dirty="0"/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F7DE3CA3-0FE8-8458-B9D8-A171514927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682656"/>
              </p:ext>
            </p:extLst>
          </p:nvPr>
        </p:nvGraphicFramePr>
        <p:xfrm>
          <a:off x="956922" y="1568034"/>
          <a:ext cx="7301707" cy="289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001">
                  <a:extLst>
                    <a:ext uri="{9D8B030D-6E8A-4147-A177-3AD203B41FA5}">
                      <a16:colId xmlns:a16="http://schemas.microsoft.com/office/drawing/2014/main" val="3760638395"/>
                    </a:ext>
                  </a:extLst>
                </a:gridCol>
                <a:gridCol w="5732706">
                  <a:extLst>
                    <a:ext uri="{9D8B030D-6E8A-4147-A177-3AD203B41FA5}">
                      <a16:colId xmlns:a16="http://schemas.microsoft.com/office/drawing/2014/main" val="1059350697"/>
                    </a:ext>
                  </a:extLst>
                </a:gridCol>
              </a:tblGrid>
              <a:tr h="57912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gross und konkre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e adressiert den </a:t>
                      </a:r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rösser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inn der Veränderung genauso, wie spezifische Fragen </a:t>
                      </a:r>
                      <a:r>
                        <a:rPr lang="de-CH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as ist der konkrete nächste Schritt</a:t>
                      </a:r>
                      <a:r>
                        <a:rPr lang="de-CH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der </a:t>
                      </a:r>
                      <a:r>
                        <a:rPr lang="de-CH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e kann ich konkret beitragen</a:t>
                      </a:r>
                      <a:r>
                        <a:rPr lang="de-CH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343047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prägna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e beschreibt die Veränderung prägnant und nicht jedes Detail. Denn Menschen können sich nur 3 - 5 Informationen spontan merken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1307464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praktisch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e skizziert den zukünftigen Alltag und beschreibt, was sich wo genau ändert und wie es sich anfühlen wird.</a:t>
                      </a:r>
                      <a:endParaRPr lang="de-CH" sz="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8681209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Empfänger-orientier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e versetzt sich in die Lage der Zuhörenden. Deshalb beschreibt sie die Veränderung spannend, verständlich und inspirieren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008233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veranschauliche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e benutzt einprägsame Bilder und spricht sowohl Kopf wie auch Emotionen an.</a:t>
                      </a:r>
                      <a:endParaRPr lang="de-CH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3795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928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E8A39B-1DB7-13B2-D3A0-766CFDC8A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Der Weg zur erfolgreichen Change Story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916EBF-C8F4-0779-2EE7-F46022438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7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1961B3-3202-4DB1-0430-1BB7C24C6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880482">
            <a:off x="2865995" y="1553187"/>
            <a:ext cx="483195" cy="85641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F9F1232-2261-9E99-3844-7607C04A3B71}"/>
              </a:ext>
            </a:extLst>
          </p:cNvPr>
          <p:cNvSpPr/>
          <p:nvPr/>
        </p:nvSpPr>
        <p:spPr bwMode="auto">
          <a:xfrm>
            <a:off x="1050245" y="1721900"/>
            <a:ext cx="1353079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400" dirty="0">
                <a:cs typeface="Arial" charset="0"/>
              </a:rPr>
              <a:t>Entwickeln</a:t>
            </a:r>
            <a:endParaRPr kumimoji="0" 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49E407-05D9-3A0F-E594-916911DF9E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880482">
            <a:off x="5088493" y="1560939"/>
            <a:ext cx="483195" cy="74948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42E90FA0-2D50-6FA7-64F9-C44A696E88C7}"/>
              </a:ext>
            </a:extLst>
          </p:cNvPr>
          <p:cNvSpPr/>
          <p:nvPr/>
        </p:nvSpPr>
        <p:spPr bwMode="auto">
          <a:xfrm>
            <a:off x="3564905" y="1721900"/>
            <a:ext cx="884152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Tes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623AE16-05F0-75A6-158E-0DCBC251DF83}"/>
              </a:ext>
            </a:extLst>
          </p:cNvPr>
          <p:cNvSpPr/>
          <p:nvPr/>
        </p:nvSpPr>
        <p:spPr bwMode="auto">
          <a:xfrm>
            <a:off x="5886400" y="1721900"/>
            <a:ext cx="1168761" cy="4275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Erzähl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4A81524-2723-C2C0-FEAD-9B8AB3076E24}"/>
              </a:ext>
            </a:extLst>
          </p:cNvPr>
          <p:cNvSpPr/>
          <p:nvPr/>
        </p:nvSpPr>
        <p:spPr bwMode="auto">
          <a:xfrm>
            <a:off x="1050244" y="2280706"/>
            <a:ext cx="2371443" cy="13359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Change Story Canvas befüll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Inhalte priorisier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Veränderung illustrier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CBE2B5E-8439-698E-DE4D-B1DDC6A7E3D5}"/>
              </a:ext>
            </a:extLst>
          </p:cNvPr>
          <p:cNvSpPr/>
          <p:nvPr/>
        </p:nvSpPr>
        <p:spPr bwMode="auto">
          <a:xfrm>
            <a:off x="3579418" y="2280706"/>
            <a:ext cx="2371443" cy="14084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Feedback einhol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Unklarheiten ausmerz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Inhalte nachschärf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D740D47-E7A9-E8EC-37D7-9B2D40B5D229}"/>
              </a:ext>
            </a:extLst>
          </p:cNvPr>
          <p:cNvSpPr/>
          <p:nvPr/>
        </p:nvSpPr>
        <p:spPr bwMode="auto">
          <a:xfrm>
            <a:off x="5886398" y="2280706"/>
            <a:ext cx="2524634" cy="14084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buSzPct val="80000"/>
              <a:buFont typeface="Wingdings" panose="05000000000000000000" pitchFamily="2" charset="2"/>
              <a:buChar char="§"/>
            </a:pPr>
            <a:r>
              <a:rPr lang="de-DE" sz="1600" dirty="0">
                <a:cs typeface="Arial" charset="0"/>
              </a:rPr>
              <a:t>Unterschiedliche Kanäle nutzen 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Zielgruppen</a:t>
            </a:r>
            <a:r>
              <a:rPr lang="de-DE" sz="1600" dirty="0">
                <a:cs typeface="Arial" charset="0"/>
              </a:rPr>
              <a:t>-spezifische</a:t>
            </a: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cs typeface="Arial" charset="0"/>
              </a:rPr>
              <a:t> Akzepte setzten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</a:pPr>
            <a:r>
              <a:rPr lang="de-DE" sz="1600" dirty="0">
                <a:cs typeface="Arial" charset="0"/>
              </a:rPr>
              <a:t>In den Dialog treten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1085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2691" y="2519869"/>
            <a:ext cx="3276759" cy="609227"/>
          </a:xfrm>
        </p:spPr>
        <p:txBody>
          <a:bodyPr/>
          <a:lstStyle/>
          <a:p>
            <a:r>
              <a:rPr lang="de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orkshop 1</a:t>
            </a:r>
          </a:p>
          <a:p>
            <a:r>
              <a:rPr lang="de-DE" sz="40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Instrukt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99301" y="231859"/>
            <a:ext cx="1541462" cy="274637"/>
          </a:xfrm>
          <a:prstGeom prst="rect">
            <a:avLst/>
          </a:prstGeom>
        </p:spPr>
        <p:txBody>
          <a:bodyPr/>
          <a:lstStyle/>
          <a:p>
            <a:fld id="{DE1226C2-F133-44DF-AAED-DC1E350BCD78}" type="slidenum">
              <a:rPr lang="de-CH" smtClean="0"/>
              <a:t>8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5FFE912-999F-AE4F-A9E3-BC689B79A397}"/>
              </a:ext>
            </a:extLst>
          </p:cNvPr>
          <p:cNvSpPr/>
          <p:nvPr/>
        </p:nvSpPr>
        <p:spPr>
          <a:xfrm>
            <a:off x="5359799" y="2178030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5A0AB17-3040-9742-BFC8-E1D9EE0BA0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1881" y="2706777"/>
            <a:ext cx="1855696" cy="109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072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4C43DD4-84AD-9684-92C8-53B1374287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Befüllen des Change Story Canva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08462-8C12-D0DD-3E7F-8F0D9DCC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9</a:t>
            </a:fld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475919-EB90-A1DE-65A6-D13F384E08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1849" y="1381411"/>
            <a:ext cx="6885865" cy="3537998"/>
          </a:xfrm>
          <a:prstGeom prst="rect">
            <a:avLst/>
          </a:prstGeom>
        </p:spPr>
        <p:txBody>
          <a:bodyPr>
            <a:normAutofit/>
          </a:bodyPr>
          <a:lstStyle/>
          <a:p>
            <a:pPr indent="0">
              <a:buNone/>
            </a:pPr>
            <a:r>
              <a:rPr lang="de-DE" sz="1800" dirty="0"/>
              <a:t>In den nächsten 180 Minuten erarbeiten wir die Inhalte für die sechs Felder. Das Vorgehen pro Feld ist immer gleich und dauert jeweils circa eine halbe Stunde. </a:t>
            </a:r>
          </a:p>
          <a:p>
            <a:pPr indent="0">
              <a:buNone/>
            </a:pPr>
            <a:endParaRPr lang="de-DE" sz="1200" dirty="0"/>
          </a:p>
          <a:p>
            <a:pPr marL="342900" indent="-342900">
              <a:spcAft>
                <a:spcPts val="900"/>
              </a:spcAft>
              <a:buFont typeface="+mj-lt"/>
              <a:buAutoNum type="arabicPeriod"/>
            </a:pPr>
            <a:r>
              <a:rPr lang="de-DE" sz="1400" dirty="0"/>
              <a:t>Notieren der eigenen Gedanken zu den Canvas Fragen auf </a:t>
            </a:r>
            <a:r>
              <a:rPr lang="de-DE" sz="1400" dirty="0" err="1"/>
              <a:t>Postit</a:t>
            </a:r>
            <a:r>
              <a:rPr lang="de-DE" sz="1400" dirty="0"/>
              <a:t>, bitte immer nur 1 Gedanke pro Zettel </a:t>
            </a:r>
            <a:r>
              <a:rPr lang="de-DE" sz="1400" dirty="0">
                <a:sym typeface="Wingdings" panose="05000000000000000000" pitchFamily="2" charset="2"/>
              </a:rPr>
              <a:t> </a:t>
            </a:r>
            <a:r>
              <a:rPr lang="de-DE" sz="1400" b="1" dirty="0">
                <a:sym typeface="Wingdings" panose="05000000000000000000" pitchFamily="2" charset="2"/>
              </a:rPr>
              <a:t>5 Minuten </a:t>
            </a:r>
            <a:r>
              <a:rPr lang="de-DE" sz="1400" dirty="0">
                <a:sym typeface="Wingdings" panose="05000000000000000000" pitchFamily="2" charset="2"/>
              </a:rPr>
              <a:t>in Stillarbeit</a:t>
            </a:r>
            <a:endParaRPr lang="de-DE" sz="1400" dirty="0"/>
          </a:p>
          <a:p>
            <a:pPr marL="342900" indent="-342900">
              <a:spcAft>
                <a:spcPts val="900"/>
              </a:spcAft>
              <a:buFont typeface="+mj-lt"/>
              <a:buAutoNum type="arabicPeriod"/>
              <a:tabLst>
                <a:tab pos="4303713" algn="l"/>
              </a:tabLst>
            </a:pPr>
            <a:r>
              <a:rPr lang="de-DE" sz="1400" dirty="0"/>
              <a:t>Vorstellen der eigenen </a:t>
            </a:r>
            <a:r>
              <a:rPr lang="de-DE" sz="1400" dirty="0" err="1"/>
              <a:t>Postit</a:t>
            </a:r>
            <a:r>
              <a:rPr lang="de-DE" sz="1400" dirty="0"/>
              <a:t> und anheften an den Canvas </a:t>
            </a:r>
            <a:r>
              <a:rPr lang="de-DE" sz="1400" dirty="0">
                <a:sym typeface="Wingdings" panose="05000000000000000000" pitchFamily="2" charset="2"/>
              </a:rPr>
              <a:t> </a:t>
            </a:r>
            <a:r>
              <a:rPr lang="de-DE" sz="1400" b="1" dirty="0">
                <a:sym typeface="Wingdings" panose="05000000000000000000" pitchFamily="2" charset="2"/>
              </a:rPr>
              <a:t>1-2 Minuten </a:t>
            </a:r>
            <a:r>
              <a:rPr lang="de-DE" sz="1400" dirty="0">
                <a:sym typeface="Wingdings" panose="05000000000000000000" pitchFamily="2" charset="2"/>
              </a:rPr>
              <a:t>pro Person (je nach Anzahl der anwesenden Personen)</a:t>
            </a:r>
            <a:endParaRPr lang="de-DE" sz="1400" dirty="0"/>
          </a:p>
          <a:p>
            <a:pPr marL="342900" indent="-342900">
              <a:spcAft>
                <a:spcPts val="900"/>
              </a:spcAft>
              <a:buFont typeface="+mj-lt"/>
              <a:buAutoNum type="arabicPeriod"/>
              <a:tabLst>
                <a:tab pos="4303713" algn="l"/>
              </a:tabLst>
            </a:pPr>
            <a:r>
              <a:rPr lang="de-DE" sz="1400" dirty="0"/>
              <a:t>Clustern der </a:t>
            </a:r>
            <a:r>
              <a:rPr lang="de-DE" sz="1400" dirty="0" err="1"/>
              <a:t>Postit</a:t>
            </a:r>
            <a:r>
              <a:rPr lang="de-DE" sz="1400" dirty="0"/>
              <a:t> pro Feld und definieren einer Clusterüberschrift  </a:t>
            </a:r>
            <a:r>
              <a:rPr lang="de-DE" sz="1400" dirty="0">
                <a:sym typeface="Wingdings" panose="05000000000000000000" pitchFamily="2" charset="2"/>
              </a:rPr>
              <a:t> </a:t>
            </a:r>
            <a:r>
              <a:rPr lang="de-DE" sz="1400" b="1" dirty="0">
                <a:sym typeface="Wingdings" panose="05000000000000000000" pitchFamily="2" charset="2"/>
              </a:rPr>
              <a:t>10 Minuten </a:t>
            </a:r>
            <a:r>
              <a:rPr lang="de-DE" sz="1400" dirty="0">
                <a:sym typeface="Wingdings" panose="05000000000000000000" pitchFamily="2" charset="2"/>
              </a:rPr>
              <a:t>in</a:t>
            </a:r>
            <a:r>
              <a:rPr lang="de-DE" sz="1400" dirty="0">
                <a:solidFill>
                  <a:srgbClr val="006FB5"/>
                </a:solidFill>
                <a:sym typeface="Wingdings" panose="05000000000000000000" pitchFamily="2" charset="2"/>
              </a:rPr>
              <a:t> </a:t>
            </a:r>
            <a:r>
              <a:rPr lang="de-DE" sz="1400" dirty="0">
                <a:sym typeface="Wingdings" panose="05000000000000000000" pitchFamily="2" charset="2"/>
              </a:rPr>
              <a:t>gemeinsamem Austausch </a:t>
            </a:r>
            <a:endParaRPr lang="de-DE" sz="1400" dirty="0"/>
          </a:p>
          <a:p>
            <a:pPr marL="342900" indent="-342900">
              <a:spcAft>
                <a:spcPts val="900"/>
              </a:spcAft>
              <a:buFont typeface="+mj-lt"/>
              <a:buAutoNum type="arabicPeriod"/>
            </a:pPr>
            <a:r>
              <a:rPr lang="de-DE" sz="1400" dirty="0"/>
              <a:t>Reflektieren, ob noch etwas fehlt </a:t>
            </a:r>
            <a:r>
              <a:rPr lang="de-DE" sz="1400" dirty="0">
                <a:sym typeface="Wingdings" panose="05000000000000000000" pitchFamily="2" charset="2"/>
              </a:rPr>
              <a:t> </a:t>
            </a:r>
            <a:r>
              <a:rPr lang="de-DE" sz="1400" b="1" dirty="0">
                <a:sym typeface="Wingdings" panose="05000000000000000000" pitchFamily="2" charset="2"/>
              </a:rPr>
              <a:t>2 Minuten </a:t>
            </a:r>
            <a:endParaRPr lang="de-DE" sz="1400" b="1" dirty="0"/>
          </a:p>
          <a:p>
            <a:pPr indent="0">
              <a:buNone/>
            </a:pPr>
            <a:endParaRPr lang="de-DE" sz="20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3E9C13B-EE0A-71A5-8C5E-1B315C7F8AED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52481" y="1926043"/>
            <a:ext cx="1080000" cy="180000"/>
          </a:xfrm>
          <a:prstGeom prst="rect">
            <a:avLst/>
          </a:prstGeom>
        </p:spPr>
      </p:pic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13473A8-2A56-6F2B-7D27-BB2A807A80B2}"/>
              </a:ext>
            </a:extLst>
          </p:cNvPr>
          <p:cNvSpPr txBox="1">
            <a:spLocks/>
          </p:cNvSpPr>
          <p:nvPr/>
        </p:nvSpPr>
        <p:spPr>
          <a:xfrm>
            <a:off x="1134126" y="4290300"/>
            <a:ext cx="7058025" cy="62751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ts val="2800"/>
              </a:lnSpc>
              <a:spcBef>
                <a:spcPts val="0"/>
              </a:spcBef>
              <a:spcAft>
                <a:spcPct val="0"/>
              </a:spcAft>
              <a:buFont typeface="+mj-lt"/>
              <a:buNone/>
              <a:defRPr sz="2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1587" indent="0" algn="l" rtl="0" eaLnBrk="0" fontAlgn="base" hangingPunct="0">
              <a:lnSpc>
                <a:spcPts val="28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357187" indent="0" algn="l" rtl="0" eaLnBrk="0" fontAlgn="base" hangingPunct="0">
              <a:lnSpc>
                <a:spcPts val="28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725488" indent="0" algn="l" rtl="0" eaLnBrk="0" fontAlgn="base" hangingPunct="0">
              <a:lnSpc>
                <a:spcPts val="28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1069975" indent="0" algn="l" rtl="0" eaLnBrk="0" fontAlgn="base" hangingPunct="0">
              <a:lnSpc>
                <a:spcPts val="28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None/>
              <a:defRPr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18970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6pPr>
            <a:lvl7pPr marL="23542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7pPr>
            <a:lvl8pPr marL="28114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8pPr>
            <a:lvl9pPr marL="3268663" indent="-369888" algn="l" rtl="0" eaLnBrk="1" fontAlgn="base" hangingPunct="1">
              <a:spcBef>
                <a:spcPct val="51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de-DE" sz="1400" b="1" kern="0" dirty="0"/>
              <a:t>Tipp</a:t>
            </a:r>
          </a:p>
          <a:p>
            <a:pPr marL="190500" lvl="1" indent="-177800">
              <a:lnSpc>
                <a:spcPct val="100000"/>
              </a:lnSpc>
              <a:buFont typeface="Wingdings" pitchFamily="2" charset="2"/>
              <a:buChar char="§"/>
            </a:pPr>
            <a:r>
              <a:rPr lang="de-DE" sz="1400" dirty="0">
                <a:latin typeface="Arial Narrow" panose="020B0604020202020204" pitchFamily="34" charset="0"/>
              </a:rPr>
              <a:t>Achtet mittels Stoppuhr / </a:t>
            </a:r>
            <a:r>
              <a:rPr lang="de-DE" sz="1400" dirty="0" err="1">
                <a:latin typeface="Arial Narrow" panose="020B0604020202020204" pitchFamily="34" charset="0"/>
              </a:rPr>
              <a:t>Timer</a:t>
            </a:r>
            <a:r>
              <a:rPr lang="de-DE" sz="1400" dirty="0">
                <a:latin typeface="Arial Narrow" panose="020B0604020202020204" pitchFamily="34" charset="0"/>
              </a:rPr>
              <a:t> auf die Einhaltung der Zeitfenster. Definiert dafür einen </a:t>
            </a:r>
            <a:r>
              <a:rPr lang="de-DE" sz="1400" dirty="0" err="1">
                <a:latin typeface="Arial Narrow" panose="020B0604020202020204" pitchFamily="34" charset="0"/>
              </a:rPr>
              <a:t>Timekeeper</a:t>
            </a:r>
            <a:r>
              <a:rPr lang="de-DE" sz="1400" dirty="0">
                <a:latin typeface="Arial Narrow" panose="020B0604020202020204" pitchFamily="34" charset="0"/>
              </a:rPr>
              <a:t>.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D0B7C3B6-BCD2-4B7D-36E0-E78DE08759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909" y="4347659"/>
            <a:ext cx="831997" cy="27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6738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2.xml><?xml version="1.0" encoding="utf-8"?>
<a:theme xmlns:a="http://schemas.openxmlformats.org/drawingml/2006/main" name="1_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3.xml><?xml version="1.0" encoding="utf-8"?>
<a:theme xmlns:a="http://schemas.openxmlformats.org/drawingml/2006/main" name="Inhaltsfolien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4.xml><?xml version="1.0" encoding="utf-8"?>
<a:theme xmlns:a="http://schemas.openxmlformats.org/drawingml/2006/main" name="Inhaltsfolien + Fond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5.xml><?xml version="1.0" encoding="utf-8"?>
<a:theme xmlns:a="http://schemas.openxmlformats.org/drawingml/2006/main" name="2_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6.xml><?xml version="1.0" encoding="utf-8"?>
<a:theme xmlns:a="http://schemas.openxmlformats.org/drawingml/2006/main" name="1_Inhaltsfolien + Fond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FE89B2E289314498820E3AB8F2A3802" ma:contentTypeVersion="15" ma:contentTypeDescription="Ein neues Dokument erstellen." ma:contentTypeScope="" ma:versionID="572713688f31f40a72b09442462b75db">
  <xsd:schema xmlns:xsd="http://www.w3.org/2001/XMLSchema" xmlns:xs="http://www.w3.org/2001/XMLSchema" xmlns:p="http://schemas.microsoft.com/office/2006/metadata/properties" xmlns:ns2="1267b7b5-1ce1-4f33-a64e-62537b25a8c1" xmlns:ns3="0527ad6a-ed4e-4174-a8d2-374fc33139ec" targetNamespace="http://schemas.microsoft.com/office/2006/metadata/properties" ma:root="true" ma:fieldsID="9f941470b9e7b68b33d9010e9b74dca9" ns2:_="" ns3:_="">
    <xsd:import namespace="1267b7b5-1ce1-4f33-a64e-62537b25a8c1"/>
    <xsd:import namespace="0527ad6a-ed4e-4174-a8d2-374fc33139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Kommentar" minOccurs="0"/>
                <xsd:element ref="ns2:Statu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67b7b5-1ce1-4f33-a64e-62537b25a8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Kommentar" ma:index="12" nillable="true" ma:displayName="Kommentar" ma:format="Dropdown" ma:internalName="Kommentar">
      <xsd:simpleType>
        <xsd:restriction base="dms:Text">
          <xsd:maxLength value="255"/>
        </xsd:restriction>
      </xsd:simpleType>
    </xsd:element>
    <xsd:element name="Status" ma:index="13" nillable="true" ma:displayName="Status" ma:format="Dropdown" ma:internalName="Status">
      <xsd:simpleType>
        <xsd:restriction base="dms:Choice">
          <xsd:enumeration value="in Bearbeitung"/>
          <xsd:enumeration value="Reviewe Autor"/>
          <xsd:enumeration value="Lektorat Constanze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605b1f29-9a1a-4586-983d-68d8e104c0e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7ad6a-ed4e-4174-a8d2-374fc33139e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852fc7b-35e5-429a-9649-176a7ed2b2ac}" ma:internalName="TaxCatchAll" ma:showField="CatchAllData" ma:web="0527ad6a-ed4e-4174-a8d2-374fc33139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27ad6a-ed4e-4174-a8d2-374fc33139ec" xsi:nil="true"/>
    <Status xmlns="1267b7b5-1ce1-4f33-a64e-62537b25a8c1" xsi:nil="true"/>
    <Kommentar xmlns="1267b7b5-1ce1-4f33-a64e-62537b25a8c1" xsi:nil="true"/>
    <lcf76f155ced4ddcb4097134ff3c332f xmlns="1267b7b5-1ce1-4f33-a64e-62537b25a8c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6E9378E-F0F8-41A3-A23C-163F403181A5}">
  <ds:schemaRefs>
    <ds:schemaRef ds:uri="0527ad6a-ed4e-4174-a8d2-374fc33139ec"/>
    <ds:schemaRef ds:uri="1267b7b5-1ce1-4f33-a64e-62537b25a8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44771A8-DFF2-4CEA-8C7C-965AF788DB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109D10-2BB8-41B1-9337-60F50E13312F}">
  <ds:schemaRefs>
    <ds:schemaRef ds:uri="http://purl.org/dc/dcmitype/"/>
    <ds:schemaRef ds:uri="http://schemas.microsoft.com/office/2006/documentManagement/types"/>
    <ds:schemaRef ds:uri="1267b7b5-1ce1-4f33-a64e-62537b25a8c1"/>
    <ds:schemaRef ds:uri="http://purl.org/dc/elements/1.1/"/>
    <ds:schemaRef ds:uri="http://schemas.microsoft.com/office/infopath/2007/PartnerControls"/>
    <ds:schemaRef ds:uri="0527ad6a-ed4e-4174-a8d2-374fc33139ec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antonZug_PPT-Vorlage_technisch</Template>
  <TotalTime>0</TotalTime>
  <Words>1528</Words>
  <Application>Microsoft Office PowerPoint</Application>
  <PresentationFormat>Bildschirmpräsentation (16:9)</PresentationFormat>
  <Paragraphs>287</Paragraphs>
  <Slides>31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5" baseType="lpstr">
      <vt:lpstr>Arial</vt:lpstr>
      <vt:lpstr>Arial Narrow</vt:lpstr>
      <vt:lpstr>Calibri</vt:lpstr>
      <vt:lpstr>Calibri Light</vt:lpstr>
      <vt:lpstr>Freestyle Script</vt:lpstr>
      <vt:lpstr>Merriweather Light</vt:lpstr>
      <vt:lpstr>Wingdings</vt:lpstr>
      <vt:lpstr>Titelfolie</vt:lpstr>
      <vt:lpstr>1_Titelfolie</vt:lpstr>
      <vt:lpstr>Inhaltsfolien</vt:lpstr>
      <vt:lpstr>Inhaltsfolien + Fond</vt:lpstr>
      <vt:lpstr>2_Titelfolie</vt:lpstr>
      <vt:lpstr>1_Inhaltsfolien + Fond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a Kessler</dc:creator>
  <cp:lastModifiedBy>Stephanie Hammon</cp:lastModifiedBy>
  <cp:revision>50</cp:revision>
  <cp:lastPrinted>2022-11-30T20:23:38Z</cp:lastPrinted>
  <dcterms:created xsi:type="dcterms:W3CDTF">2021-09-27T08:17:03Z</dcterms:created>
  <dcterms:modified xsi:type="dcterms:W3CDTF">2023-12-15T15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E89B2E289314498820E3AB8F2A3802</vt:lpwstr>
  </property>
  <property fmtid="{D5CDD505-2E9C-101B-9397-08002B2CF9AE}" pid="3" name="MediaServiceImageTags">
    <vt:lpwstr/>
  </property>
</Properties>
</file>